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8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0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1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2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3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4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15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16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17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18.xml" ContentType="application/vnd.openxmlformats-officedocument.presentationml.notesSl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19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20.xml" ContentType="application/vnd.openxmlformats-officedocument.presentationml.notesSl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0"/>
  </p:notesMasterIdLst>
  <p:handoutMasterIdLst>
    <p:handoutMasterId r:id="rId31"/>
  </p:handoutMasterIdLst>
  <p:sldIdLst>
    <p:sldId id="905" r:id="rId2"/>
    <p:sldId id="1512" r:id="rId3"/>
    <p:sldId id="1546" r:id="rId4"/>
    <p:sldId id="1548" r:id="rId5"/>
    <p:sldId id="1549" r:id="rId6"/>
    <p:sldId id="1553" r:id="rId7"/>
    <p:sldId id="1513" r:id="rId8"/>
    <p:sldId id="1514" r:id="rId9"/>
    <p:sldId id="1511" r:id="rId10"/>
    <p:sldId id="1499" r:id="rId11"/>
    <p:sldId id="1518" r:id="rId12"/>
    <p:sldId id="1519" r:id="rId13"/>
    <p:sldId id="1523" r:id="rId14"/>
    <p:sldId id="1544" r:id="rId15"/>
    <p:sldId id="1528" r:id="rId16"/>
    <p:sldId id="1530" r:id="rId17"/>
    <p:sldId id="1531" r:id="rId18"/>
    <p:sldId id="1533" r:id="rId19"/>
    <p:sldId id="1536" r:id="rId20"/>
    <p:sldId id="1537" r:id="rId21"/>
    <p:sldId id="1538" r:id="rId22"/>
    <p:sldId id="1545" r:id="rId23"/>
    <p:sldId id="1539" r:id="rId24"/>
    <p:sldId id="1540" r:id="rId25"/>
    <p:sldId id="1541" r:id="rId26"/>
    <p:sldId id="1542" r:id="rId27"/>
    <p:sldId id="1543" r:id="rId28"/>
    <p:sldId id="1554" r:id="rId29"/>
  </p:sldIdLst>
  <p:sldSz cx="9906000" cy="6858000" type="A4"/>
  <p:notesSz cx="7023100" cy="9309100"/>
  <p:custDataLst>
    <p:tags r:id="rId32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pos="5952" userDrawn="1">
          <p15:clr>
            <a:srgbClr val="A4A3A4"/>
          </p15:clr>
        </p15:guide>
        <p15:guide id="3" pos="5343" userDrawn="1">
          <p15:clr>
            <a:srgbClr val="A4A3A4"/>
          </p15:clr>
        </p15:guide>
        <p15:guide id="4" pos="761" userDrawn="1">
          <p15:clr>
            <a:srgbClr val="A4A3A4"/>
          </p15:clr>
        </p15:guide>
        <p15:guide id="5" pos="281" userDrawn="1">
          <p15:clr>
            <a:srgbClr val="A4A3A4"/>
          </p15:clr>
        </p15:guide>
        <p15:guide id="6" pos="4980" userDrawn="1">
          <p15:clr>
            <a:srgbClr val="A4A3A4"/>
          </p15:clr>
        </p15:guide>
        <p15:guide id="7" pos="4299" userDrawn="1">
          <p15:clr>
            <a:srgbClr val="A4A3A4"/>
          </p15:clr>
        </p15:guide>
        <p15:guide id="8" orient="horz" pos="93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iernacki Jacek" initials="BJ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66B6"/>
    <a:srgbClr val="B0B0B0"/>
    <a:srgbClr val="FFFC71"/>
    <a:srgbClr val="4D4D4D"/>
    <a:srgbClr val="8E8E8E"/>
    <a:srgbClr val="F0BA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5049" autoAdjust="0"/>
    <p:restoredTop sz="95742" autoAdjust="0"/>
  </p:normalViewPr>
  <p:slideViewPr>
    <p:cSldViewPr snapToObjects="1">
      <p:cViewPr varScale="1">
        <p:scale>
          <a:sx n="92" d="100"/>
          <a:sy n="92" d="100"/>
        </p:scale>
        <p:origin x="1152" y="90"/>
      </p:cViewPr>
      <p:guideLst>
        <p:guide orient="horz" pos="799"/>
        <p:guide pos="5952"/>
        <p:guide pos="5343"/>
        <p:guide pos="761"/>
        <p:guide pos="281"/>
        <p:guide pos="4980"/>
        <p:guide pos="4299"/>
        <p:guide orient="horz" pos="93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34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6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8DC08D-9EE4-466E-B6C5-21E3645036AF}" type="datetimeFigureOut">
              <a:rPr lang="en-US" smtClean="0"/>
              <a:pPr/>
              <a:t>1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6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9E9E9B-37DB-4230-AA06-832616316F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9481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43343" cy="4670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3" y="2"/>
            <a:ext cx="3043343" cy="4670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93136F-9336-4C85-B7EB-A39B146B9017}" type="datetimeFigureOut">
              <a:rPr lang="pl-PL" smtClean="0"/>
              <a:pPr/>
              <a:t>2019-01-24</a:t>
            </a:fld>
            <a:endParaRPr lang="pl-P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3013" y="1163638"/>
            <a:ext cx="453707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1" y="4480005"/>
            <a:ext cx="5618480" cy="366545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 smtClean="0"/>
              <a:t>Click to edit Master text styles</a:t>
            </a:r>
          </a:p>
          <a:p>
            <a:pPr lvl="1"/>
            <a:r>
              <a:rPr lang="pl-PL" smtClean="0"/>
              <a:t>Second level</a:t>
            </a:r>
          </a:p>
          <a:p>
            <a:pPr lvl="2"/>
            <a:r>
              <a:rPr lang="pl-PL" smtClean="0"/>
              <a:t>Third level</a:t>
            </a:r>
          </a:p>
          <a:p>
            <a:pPr lvl="3"/>
            <a:r>
              <a:rPr lang="pl-PL" smtClean="0"/>
              <a:t>Fourth level</a:t>
            </a:r>
          </a:p>
          <a:p>
            <a:pPr lvl="4"/>
            <a:r>
              <a:rPr lang="pl-PL" smtClean="0"/>
              <a:t>Fifth level</a:t>
            </a:r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42030"/>
            <a:ext cx="3043343" cy="4670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3" y="8842030"/>
            <a:ext cx="3043343" cy="4670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013272-F8D2-454A-9CF5-79D8E00B5514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929586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3041097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15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30815311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hangingPunct="1">
              <a:spcBef>
                <a:spcPct val="0"/>
              </a:spcBef>
            </a:pPr>
            <a:endParaRPr lang="pl-PL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92886" indent="-30267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22230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2438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02645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76404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50162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3919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97677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133BA1-22BC-4F33-B8EB-62B72C8CC934}" type="slidenum">
              <a:rPr lang="pl-PL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16</a:t>
            </a:fld>
            <a:endParaRPr lang="pl-PL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7870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hangingPunct="1">
              <a:spcBef>
                <a:spcPct val="0"/>
              </a:spcBef>
            </a:pPr>
            <a:endParaRPr lang="pl-PL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92886" indent="-30267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22230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2438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02645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76404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50162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3919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97677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133BA1-22BC-4F33-B8EB-62B72C8CC934}" type="slidenum">
              <a:rPr lang="pl-PL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17</a:t>
            </a:fld>
            <a:endParaRPr lang="pl-PL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1279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18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12542452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hangingPunct="1">
              <a:spcBef>
                <a:spcPct val="0"/>
              </a:spcBef>
            </a:pPr>
            <a:endParaRPr lang="pl-PL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92886" indent="-30267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22230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2438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02645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76404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50162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3919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97677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133BA1-22BC-4F33-B8EB-62B72C8CC934}" type="slidenum">
              <a:rPr lang="pl-PL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19</a:t>
            </a:fld>
            <a:endParaRPr lang="pl-PL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95010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20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30479636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hangingPunct="1">
              <a:spcBef>
                <a:spcPct val="0"/>
              </a:spcBef>
            </a:pPr>
            <a:endParaRPr lang="pl-PL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92886" indent="-30267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22230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2438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02645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76404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50162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3919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97677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133BA1-22BC-4F33-B8EB-62B72C8CC934}" type="slidenum">
              <a:rPr lang="pl-PL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21</a:t>
            </a:fld>
            <a:endParaRPr lang="pl-PL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32533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23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24812845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hangingPunct="1">
              <a:spcBef>
                <a:spcPct val="0"/>
              </a:spcBef>
            </a:pPr>
            <a:endParaRPr lang="pl-PL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92886" indent="-30267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22230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2438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02645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76404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50162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3919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97677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133BA1-22BC-4F33-B8EB-62B72C8CC934}" type="slidenum">
              <a:rPr lang="pl-PL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24</a:t>
            </a:fld>
            <a:endParaRPr lang="pl-PL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160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25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19875666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678850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hangingPunct="1">
              <a:spcBef>
                <a:spcPct val="0"/>
              </a:spcBef>
            </a:pPr>
            <a:endParaRPr lang="pl-PL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92886" indent="-30267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22230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2438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02645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76404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50162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3919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97677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133BA1-22BC-4F33-B8EB-62B72C8CC934}" type="slidenum">
              <a:rPr lang="pl-PL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26</a:t>
            </a:fld>
            <a:endParaRPr lang="pl-PL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82359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27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363222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936380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ymbol zastępczy obrazu slajd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Symbol zastępczy notatek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</p:spTree>
    <p:extLst>
      <p:ext uri="{BB962C8B-B14F-4D97-AF65-F5344CB8AC3E}">
        <p14:creationId xmlns:p14="http://schemas.microsoft.com/office/powerpoint/2010/main" val="17550735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ymbol zastępczy obrazu slajd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Symbol zastępczy notatek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</p:spTree>
    <p:extLst>
      <p:ext uri="{BB962C8B-B14F-4D97-AF65-F5344CB8AC3E}">
        <p14:creationId xmlns:p14="http://schemas.microsoft.com/office/powerpoint/2010/main" val="2962332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9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9764833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hangingPunct="1">
              <a:spcBef>
                <a:spcPct val="0"/>
              </a:spcBef>
            </a:pPr>
            <a:endParaRPr lang="pl-PL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92886" indent="-30267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22230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2438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02645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76404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50162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3919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97677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133BA1-22BC-4F33-B8EB-62B72C8CC934}" type="slidenum">
              <a:rPr lang="pl-PL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10</a:t>
            </a:fld>
            <a:endParaRPr lang="pl-PL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0047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11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12807536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hangingPunct="1">
              <a:spcBef>
                <a:spcPct val="0"/>
              </a:spcBef>
            </a:pPr>
            <a:endParaRPr lang="pl-PL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92886" indent="-30267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22230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2438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02645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76404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50162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3919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97677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133BA1-22BC-4F33-B8EB-62B72C8CC934}" type="slidenum">
              <a:rPr lang="pl-PL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12</a:t>
            </a:fld>
            <a:endParaRPr lang="pl-PL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38500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13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8199787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3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1"/>
          <p:cNvSpPr>
            <a:spLocks noChangeAspect="1" noChangeArrowheads="1"/>
          </p:cNvSpPr>
          <p:nvPr userDrawn="1"/>
        </p:nvSpPr>
        <p:spPr bwMode="auto">
          <a:xfrm>
            <a:off x="2825750" y="5821363"/>
            <a:ext cx="4241800" cy="25876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altLang="pl-PL" smtClean="0">
              <a:solidFill>
                <a:srgbClr val="000000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Calibri" panose="020F0502020204030204" pitchFamily="34" charset="0"/>
                <a:cs typeface="Arial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714654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613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41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AutoShape 12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3175" y="6408738"/>
            <a:ext cx="9902825" cy="461962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grpSp>
        <p:nvGrpSpPr>
          <p:cNvPr id="5" name="Group 5"/>
          <p:cNvGrpSpPr>
            <a:grpSpLocks/>
          </p:cNvGrpSpPr>
          <p:nvPr userDrawn="1"/>
        </p:nvGrpSpPr>
        <p:grpSpPr bwMode="auto">
          <a:xfrm>
            <a:off x="8686800" y="207963"/>
            <a:ext cx="1219200" cy="644525"/>
            <a:chOff x="7978775" y="3175"/>
            <a:chExt cx="1927225" cy="1018157"/>
          </a:xfrm>
        </p:grpSpPr>
        <p:pic>
          <p:nvPicPr>
            <p:cNvPr id="6" name="flag_poland" descr="Datei:Flag of Poland.svg"/>
            <p:cNvPicPr>
              <a:picLocks noChangeArrowheads="1"/>
            </p:cNvPicPr>
            <p:nvPr/>
          </p:nvPicPr>
          <p:blipFill>
            <a:blip r:embed="rId5" cstate="print"/>
            <a:srcRect l="6250"/>
            <a:stretch>
              <a:fillRect/>
            </a:stretch>
          </p:blipFill>
          <p:spPr bwMode="auto">
            <a:xfrm>
              <a:off x="7978775" y="161164"/>
              <a:ext cx="1927225" cy="86016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>
              <a:outerShdw blurRad="50800" dist="38100" dir="18900000" algn="bl" rotWithShape="0">
                <a:schemeClr val="bg2">
                  <a:alpha val="40000"/>
                </a:schemeClr>
              </a:outerShdw>
            </a:effectLst>
          </p:spPr>
        </p:pic>
        <p:sp>
          <p:nvSpPr>
            <p:cNvPr id="7" name="Rectangle 11"/>
            <p:cNvSpPr/>
            <p:nvPr/>
          </p:nvSpPr>
          <p:spPr bwMode="auto">
            <a:xfrm>
              <a:off x="7978775" y="3175"/>
              <a:ext cx="1146175" cy="1018157"/>
            </a:xfrm>
            <a:prstGeom prst="rect">
              <a:avLst/>
            </a:prstGeom>
            <a:gradFill>
              <a:gsLst>
                <a:gs pos="68000">
                  <a:srgbClr val="FFFFFF">
                    <a:alpha val="60000"/>
                  </a:srgbClr>
                </a:gs>
                <a:gs pos="21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21594000" scaled="0"/>
            </a:gra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pl-PL" sz="240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3175" y="295275"/>
            <a:ext cx="254000" cy="831850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9488488" y="6572250"/>
            <a:ext cx="274637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B1D9524-E003-424D-AD05-D830B7155F12}" type="slidenum">
              <a:rPr lang="pl-PL" altLang="en-US" sz="1000" b="1" smtClean="0">
                <a:solidFill>
                  <a:srgbClr val="FFFFFF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pl-PL" altLang="en-US" sz="1000" b="1" smtClean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altLang="en-US" sz="800" b="1" dirty="0" smtClean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Click to edit Master title style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2570349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43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AutoShap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3175" y="6408738"/>
            <a:ext cx="9902825" cy="461962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5" name="TextBox 15"/>
          <p:cNvSpPr txBox="1">
            <a:spLocks noChangeArrowheads="1"/>
          </p:cNvSpPr>
          <p:nvPr userDrawn="1"/>
        </p:nvSpPr>
        <p:spPr bwMode="auto">
          <a:xfrm>
            <a:off x="9488488" y="6572250"/>
            <a:ext cx="274637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BF5A4CA-94EE-457B-AF5B-7022A892C366}" type="slidenum">
              <a:rPr lang="pl-PL" altLang="en-US" sz="1000" b="1" smtClean="0">
                <a:solidFill>
                  <a:srgbClr val="FFFFFF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pl-PL" altLang="en-US" sz="1000" b="1" smtClean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altLang="en-US" sz="800" b="1" dirty="0" smtClean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grpSp>
        <p:nvGrpSpPr>
          <p:cNvPr id="6" name="Group 17"/>
          <p:cNvGrpSpPr>
            <a:grpSpLocks/>
          </p:cNvGrpSpPr>
          <p:nvPr userDrawn="1"/>
        </p:nvGrpSpPr>
        <p:grpSpPr bwMode="auto">
          <a:xfrm>
            <a:off x="8686800" y="207963"/>
            <a:ext cx="1219200" cy="644525"/>
            <a:chOff x="7978775" y="3175"/>
            <a:chExt cx="1927225" cy="1018157"/>
          </a:xfrm>
        </p:grpSpPr>
        <p:pic>
          <p:nvPicPr>
            <p:cNvPr id="7" name="flag_poland" descr="Datei:Flag of Poland.svg"/>
            <p:cNvPicPr>
              <a:picLocks noChangeArrowheads="1"/>
            </p:cNvPicPr>
            <p:nvPr/>
          </p:nvPicPr>
          <p:blipFill>
            <a:blip r:embed="rId5" cstate="print"/>
            <a:srcRect l="6250"/>
            <a:stretch>
              <a:fillRect/>
            </a:stretch>
          </p:blipFill>
          <p:spPr bwMode="auto">
            <a:xfrm>
              <a:off x="7978775" y="161164"/>
              <a:ext cx="1927225" cy="86016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>
              <a:outerShdw blurRad="50800" dist="38100" dir="18900000" algn="bl" rotWithShape="0">
                <a:schemeClr val="bg2">
                  <a:alpha val="40000"/>
                </a:schemeClr>
              </a:outerShdw>
            </a:effectLst>
          </p:spPr>
        </p:pic>
        <p:sp>
          <p:nvSpPr>
            <p:cNvPr id="8" name="Rectangle 11"/>
            <p:cNvSpPr/>
            <p:nvPr/>
          </p:nvSpPr>
          <p:spPr bwMode="auto">
            <a:xfrm>
              <a:off x="7978775" y="3175"/>
              <a:ext cx="1146175" cy="1018157"/>
            </a:xfrm>
            <a:prstGeom prst="rect">
              <a:avLst/>
            </a:prstGeom>
            <a:gradFill>
              <a:gsLst>
                <a:gs pos="68000">
                  <a:srgbClr val="FFFFFF">
                    <a:alpha val="60000"/>
                  </a:srgbClr>
                </a:gs>
                <a:gs pos="21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21594000" scaled="0"/>
            </a:gra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pl-PL" sz="240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9" name="Rectangle 8"/>
          <p:cNvSpPr/>
          <p:nvPr userDrawn="1"/>
        </p:nvSpPr>
        <p:spPr>
          <a:xfrm>
            <a:off x="3175" y="295275"/>
            <a:ext cx="254000" cy="831850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Click to edit Master title styl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938020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2219504" y="1157797"/>
            <a:ext cx="5757863" cy="2387600"/>
          </a:xfrm>
          <a:prstGeom prst="rect">
            <a:avLst/>
          </a:prstGeom>
        </p:spPr>
        <p:txBody>
          <a:bodyPr anchor="b"/>
          <a:lstStyle>
            <a:lvl1pPr algn="l">
              <a:defRPr kumimoji="0" lang="pl-PL" sz="3250" b="0" i="0" u="none" strike="noStrike" cap="none" spc="0" normalizeH="0" baseline="0" smtClean="0">
                <a:ln>
                  <a:noFill/>
                </a:ln>
                <a:solidFill>
                  <a:srgbClr val="53585F"/>
                </a:solidFill>
                <a:effectLst/>
                <a:uFillTx/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rPr lang="pl-PL"/>
              <a:t>Kliknij, aby edytować styl</a:t>
            </a:r>
            <a:endParaRPr lang="pl-PL" dirty="0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/>
          <a:lstStyle/>
          <a:p>
            <a:fld id="{4486567F-3B0C-4C5B-B16F-D0F602FE51B8}" type="datetimeFigureOut">
              <a:rPr lang="pl-PL" smtClean="0"/>
              <a:t>2019-01-24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/>
          <a:lstStyle/>
          <a:p>
            <a:fld id="{AFD16D16-9098-42D3-8B40-008C5A6AEF6C}" type="slidenum">
              <a:rPr lang="pl-PL" smtClean="0"/>
              <a:t>‹#›</a:t>
            </a:fld>
            <a:endParaRPr lang="pl-PL"/>
          </a:p>
        </p:txBody>
      </p:sp>
      <p:pic>
        <p:nvPicPr>
          <p:cNvPr id="9" name="pasted-image.tiff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-1063744" y="2954305"/>
            <a:ext cx="3229905" cy="5556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73283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4246952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409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AutoShape 1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3175" y="6408738"/>
            <a:ext cx="9902825" cy="461962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1028" name="Text Placeholder 12"/>
          <p:cNvSpPr>
            <a:spLocks noGrp="1"/>
          </p:cNvSpPr>
          <p:nvPr userDrawn="1">
            <p:ph type="body" idx="1"/>
          </p:nvPr>
        </p:nvSpPr>
        <p:spPr bwMode="auto">
          <a:xfrm>
            <a:off x="454025" y="1508125"/>
            <a:ext cx="8997950" cy="459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en-US" smtClean="0"/>
              <a:t>Click to edit Master text styles</a:t>
            </a:r>
          </a:p>
          <a:p>
            <a:pPr lvl="1"/>
            <a:r>
              <a:rPr lang="pl-PL" altLang="en-US" smtClean="0"/>
              <a:t>Second level</a:t>
            </a:r>
          </a:p>
          <a:p>
            <a:pPr lvl="2"/>
            <a:r>
              <a:rPr lang="pl-PL" altLang="en-US" smtClean="0"/>
              <a:t>Third level</a:t>
            </a:r>
          </a:p>
          <a:p>
            <a:pPr lvl="3"/>
            <a:r>
              <a:rPr lang="pl-PL" altLang="en-US" smtClean="0"/>
              <a:t>Fourth level</a:t>
            </a:r>
          </a:p>
          <a:p>
            <a:pPr lvl="4"/>
            <a:r>
              <a:rPr lang="pl-PL" altLang="en-US" smtClean="0"/>
              <a:t>Fifth level</a:t>
            </a:r>
            <a:endParaRPr lang="pl-PL" altLang="en-US" dirty="0" smtClean="0"/>
          </a:p>
        </p:txBody>
      </p:sp>
      <p:sp>
        <p:nvSpPr>
          <p:cNvPr id="1029" name="Title Placeholder 1"/>
          <p:cNvSpPr>
            <a:spLocks noGrp="1"/>
          </p:cNvSpPr>
          <p:nvPr userDrawn="1">
            <p:ph type="title"/>
          </p:nvPr>
        </p:nvSpPr>
        <p:spPr bwMode="auto">
          <a:xfrm>
            <a:off x="454025" y="295275"/>
            <a:ext cx="807243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en-US" smtClean="0"/>
              <a:t>Click to edit Master title style</a:t>
            </a:r>
          </a:p>
        </p:txBody>
      </p:sp>
      <p:grpSp>
        <p:nvGrpSpPr>
          <p:cNvPr id="1030" name="Group 5"/>
          <p:cNvGrpSpPr>
            <a:grpSpLocks/>
          </p:cNvGrpSpPr>
          <p:nvPr userDrawn="1"/>
        </p:nvGrpSpPr>
        <p:grpSpPr bwMode="auto">
          <a:xfrm>
            <a:off x="8686800" y="207963"/>
            <a:ext cx="1219200" cy="644525"/>
            <a:chOff x="7978775" y="3175"/>
            <a:chExt cx="1927225" cy="1018157"/>
          </a:xfrm>
        </p:grpSpPr>
        <p:pic>
          <p:nvPicPr>
            <p:cNvPr id="12" name="flag_poland" descr="Datei:Flag of Poland.svg"/>
            <p:cNvPicPr>
              <a:picLocks noChangeArrowheads="1"/>
            </p:cNvPicPr>
            <p:nvPr/>
          </p:nvPicPr>
          <p:blipFill>
            <a:blip r:embed="rId9" cstate="print"/>
            <a:srcRect l="6250"/>
            <a:stretch>
              <a:fillRect/>
            </a:stretch>
          </p:blipFill>
          <p:spPr bwMode="auto">
            <a:xfrm>
              <a:off x="7978775" y="161164"/>
              <a:ext cx="1927225" cy="86016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>
              <a:outerShdw blurRad="50800" dist="38100" dir="18900000" algn="bl" rotWithShape="0">
                <a:schemeClr val="bg2">
                  <a:alpha val="40000"/>
                </a:schemeClr>
              </a:outerShdw>
            </a:effectLst>
          </p:spPr>
        </p:pic>
        <p:sp>
          <p:nvSpPr>
            <p:cNvPr id="14" name="Rectangle 11"/>
            <p:cNvSpPr/>
            <p:nvPr/>
          </p:nvSpPr>
          <p:spPr bwMode="auto">
            <a:xfrm>
              <a:off x="7978775" y="3175"/>
              <a:ext cx="1146175" cy="1018157"/>
            </a:xfrm>
            <a:prstGeom prst="rect">
              <a:avLst/>
            </a:prstGeom>
            <a:gradFill>
              <a:gsLst>
                <a:gs pos="68000">
                  <a:srgbClr val="FFFFFF">
                    <a:alpha val="60000"/>
                  </a:srgbClr>
                </a:gs>
                <a:gs pos="21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21594000" scaled="0"/>
            </a:gra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pl-PL" sz="240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15" name="Rectangle 14"/>
          <p:cNvSpPr/>
          <p:nvPr userDrawn="1"/>
        </p:nvSpPr>
        <p:spPr>
          <a:xfrm>
            <a:off x="3175" y="295275"/>
            <a:ext cx="254000" cy="831850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16" name="TextBox 15"/>
          <p:cNvSpPr txBox="1">
            <a:spLocks noChangeArrowheads="1"/>
          </p:cNvSpPr>
          <p:nvPr userDrawn="1"/>
        </p:nvSpPr>
        <p:spPr bwMode="auto">
          <a:xfrm>
            <a:off x="9488488" y="6572250"/>
            <a:ext cx="274637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B85C5F7-918F-4500-8B15-6B3439F14B42}" type="slidenum">
              <a:rPr lang="pl-PL" altLang="en-US" sz="1000" b="1" smtClean="0">
                <a:solidFill>
                  <a:srgbClr val="FFFFFF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pl-PL" altLang="en-US" sz="1000" b="1" smtClean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altLang="en-US" sz="800" b="1" dirty="0" smtClean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1947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0D568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D5681"/>
        </a:buClr>
        <a:defRPr sz="16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rgbClr val="0D568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rgbClr val="0D568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376363" indent="-231775" algn="l" rtl="0" eaLnBrk="0" fontAlgn="base" hangingPunct="0">
        <a:spcBef>
          <a:spcPct val="20000"/>
        </a:spcBef>
        <a:spcAft>
          <a:spcPct val="0"/>
        </a:spcAft>
        <a:buClr>
          <a:srgbClr val="0D568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rgbClr val="0D568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6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notesSlide" Target="../notesSlides/notesSlide8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4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4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tags" Target="../tags/tag68.xml"/><Relationship Id="rId3" Type="http://schemas.openxmlformats.org/officeDocument/2006/relationships/tags" Target="../tags/tag45.xml"/><Relationship Id="rId21" Type="http://schemas.openxmlformats.org/officeDocument/2006/relationships/tags" Target="../tags/tag63.xml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33" Type="http://schemas.openxmlformats.org/officeDocument/2006/relationships/oleObject" Target="../embeddings/oleObject15.bin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tags" Target="../tags/tag62.xml"/><Relationship Id="rId29" Type="http://schemas.openxmlformats.org/officeDocument/2006/relationships/tags" Target="../tags/tag71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32" Type="http://schemas.openxmlformats.org/officeDocument/2006/relationships/notesSlide" Target="../notesSlides/notesSlide11.xml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tags" Target="../tags/tag70.xml"/><Relationship Id="rId10" Type="http://schemas.openxmlformats.org/officeDocument/2006/relationships/tags" Target="../tags/tag52.xml"/><Relationship Id="rId19" Type="http://schemas.openxmlformats.org/officeDocument/2006/relationships/tags" Target="../tags/tag61.xml"/><Relationship Id="rId31" Type="http://schemas.openxmlformats.org/officeDocument/2006/relationships/slideLayout" Target="../slideLayouts/slideLayout2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tags" Target="../tags/tag69.xml"/><Relationship Id="rId30" Type="http://schemas.openxmlformats.org/officeDocument/2006/relationships/tags" Target="../tags/tag7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18" Type="http://schemas.openxmlformats.org/officeDocument/2006/relationships/tags" Target="../tags/tag89.xml"/><Relationship Id="rId3" Type="http://schemas.openxmlformats.org/officeDocument/2006/relationships/tags" Target="../tags/tag74.xml"/><Relationship Id="rId21" Type="http://schemas.openxmlformats.org/officeDocument/2006/relationships/notesSlide" Target="../notesSlides/notesSlide12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tags" Target="../tags/tag88.xml"/><Relationship Id="rId2" Type="http://schemas.openxmlformats.org/officeDocument/2006/relationships/tags" Target="../tags/tag73.xml"/><Relationship Id="rId16" Type="http://schemas.openxmlformats.org/officeDocument/2006/relationships/tags" Target="../tags/tag87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16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tags" Target="../tags/tag86.xml"/><Relationship Id="rId10" Type="http://schemas.openxmlformats.org/officeDocument/2006/relationships/tags" Target="../tags/tag81.xml"/><Relationship Id="rId19" Type="http://schemas.openxmlformats.org/officeDocument/2006/relationships/tags" Target="../tags/tag90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Relationship Id="rId22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4.emf"/><Relationship Id="rId2" Type="http://schemas.openxmlformats.org/officeDocument/2006/relationships/tags" Target="../tags/tag91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notesSlide" Target="../notesSlides/notesSlide1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18.vml"/><Relationship Id="rId6" Type="http://schemas.openxmlformats.org/officeDocument/2006/relationships/tags" Target="../tags/tag97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8.xml"/><Relationship Id="rId7" Type="http://schemas.openxmlformats.org/officeDocument/2006/relationships/image" Target="../media/image6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e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9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14.emf"/><Relationship Id="rId2" Type="http://schemas.openxmlformats.org/officeDocument/2006/relationships/tags" Target="../tags/tag10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oleObject" Target="../embeddings/oleObject20.bin"/><Relationship Id="rId2" Type="http://schemas.openxmlformats.org/officeDocument/2006/relationships/tags" Target="../tags/tag104.xml"/><Relationship Id="rId16" Type="http://schemas.openxmlformats.org/officeDocument/2006/relationships/notesSlide" Target="../notesSlides/notesSlide16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5" Type="http://schemas.openxmlformats.org/officeDocument/2006/relationships/tags" Target="../tags/tag107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12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13" Type="http://schemas.openxmlformats.org/officeDocument/2006/relationships/tags" Target="../tags/tag129.xml"/><Relationship Id="rId18" Type="http://schemas.openxmlformats.org/officeDocument/2006/relationships/tags" Target="../tags/tag134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12" Type="http://schemas.openxmlformats.org/officeDocument/2006/relationships/tags" Target="../tags/tag128.xml"/><Relationship Id="rId17" Type="http://schemas.openxmlformats.org/officeDocument/2006/relationships/tags" Target="../tags/tag133.xml"/><Relationship Id="rId2" Type="http://schemas.openxmlformats.org/officeDocument/2006/relationships/tags" Target="../tags/tag118.xml"/><Relationship Id="rId16" Type="http://schemas.openxmlformats.org/officeDocument/2006/relationships/tags" Target="../tags/tag132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1" Type="http://schemas.openxmlformats.org/officeDocument/2006/relationships/tags" Target="../tags/tag127.xml"/><Relationship Id="rId5" Type="http://schemas.openxmlformats.org/officeDocument/2006/relationships/tags" Target="../tags/tag121.xml"/><Relationship Id="rId15" Type="http://schemas.openxmlformats.org/officeDocument/2006/relationships/tags" Target="../tags/tag131.xml"/><Relationship Id="rId10" Type="http://schemas.openxmlformats.org/officeDocument/2006/relationships/tags" Target="../tags/tag126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4" Type="http://schemas.openxmlformats.org/officeDocument/2006/relationships/tags" Target="../tags/tag13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14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tags" Target="../tags/tag148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12" Type="http://schemas.openxmlformats.org/officeDocument/2006/relationships/tags" Target="../tags/tag147.xml"/><Relationship Id="rId17" Type="http://schemas.openxmlformats.org/officeDocument/2006/relationships/tags" Target="../tags/tag152.xml"/><Relationship Id="rId2" Type="http://schemas.openxmlformats.org/officeDocument/2006/relationships/tags" Target="../tags/tag137.xml"/><Relationship Id="rId16" Type="http://schemas.openxmlformats.org/officeDocument/2006/relationships/tags" Target="../tags/tag151.xml"/><Relationship Id="rId20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141.xml"/><Relationship Id="rId11" Type="http://schemas.openxmlformats.org/officeDocument/2006/relationships/tags" Target="../tags/tag146.xml"/><Relationship Id="rId5" Type="http://schemas.openxmlformats.org/officeDocument/2006/relationships/tags" Target="../tags/tag140.xml"/><Relationship Id="rId15" Type="http://schemas.openxmlformats.org/officeDocument/2006/relationships/tags" Target="../tags/tag150.xml"/><Relationship Id="rId10" Type="http://schemas.openxmlformats.org/officeDocument/2006/relationships/tags" Target="../tags/tag145.xml"/><Relationship Id="rId19" Type="http://schemas.openxmlformats.org/officeDocument/2006/relationships/notesSlide" Target="../notesSlides/notesSlide18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tags" Target="../tags/tag14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14.emf"/><Relationship Id="rId2" Type="http://schemas.openxmlformats.org/officeDocument/2006/relationships/tags" Target="../tags/tag153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59.xml"/><Relationship Id="rId5" Type="http://schemas.openxmlformats.org/officeDocument/2006/relationships/tags" Target="../tags/tag158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157.xml"/><Relationship Id="rId9" Type="http://schemas.openxmlformats.org/officeDocument/2006/relationships/notesSlide" Target="../notesSlides/notesSlide2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7" Type="http://schemas.openxmlformats.org/officeDocument/2006/relationships/image" Target="../media/image14.emf"/><Relationship Id="rId2" Type="http://schemas.openxmlformats.org/officeDocument/2006/relationships/tags" Target="../tags/tag161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2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12.xml"/><Relationship Id="rId7" Type="http://schemas.openxmlformats.org/officeDocument/2006/relationships/image" Target="../media/image1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34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AutoShape 2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0" r="1830"/>
          <a:stretch>
            <a:fillRect/>
          </a:stretch>
        </p:blipFill>
        <p:spPr bwMode="auto">
          <a:xfrm>
            <a:off x="0" y="3175"/>
            <a:ext cx="9906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632520" y="260648"/>
            <a:ext cx="9904413" cy="6858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lin ang="162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7" name="Tytuł 1"/>
          <p:cNvSpPr txBox="1">
            <a:spLocks/>
          </p:cNvSpPr>
          <p:nvPr/>
        </p:nvSpPr>
        <p:spPr bwMode="auto">
          <a:xfrm>
            <a:off x="1" y="5205413"/>
            <a:ext cx="8769424" cy="143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4000" r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en-US" sz="32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Program </a:t>
            </a:r>
            <a:r>
              <a:rPr lang="pl-PL" altLang="en-US" sz="3200" b="1" dirty="0">
                <a:solidFill>
                  <a:srgbClr val="000000"/>
                </a:solidFill>
                <a:latin typeface="Calibri" panose="020F0502020204030204" pitchFamily="34" charset="0"/>
              </a:rPr>
              <a:t>„Od papierowej do cyfrowej Polski” </a:t>
            </a:r>
            <a:endParaRPr lang="pl-PL" altLang="en-US" sz="32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en-US" sz="24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Sprawozdanie z prac programu</a:t>
            </a:r>
            <a:endParaRPr lang="pl-PL" altLang="en-US" sz="24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en-US" sz="2400" b="1" dirty="0">
                <a:solidFill>
                  <a:srgbClr val="5890C8"/>
                </a:solidFill>
                <a:latin typeface="Calibri" panose="020F0502020204030204" pitchFamily="34" charset="0"/>
              </a:rPr>
              <a:t>					</a:t>
            </a:r>
            <a:r>
              <a:rPr lang="pl-PL" altLang="en-US" sz="2400" b="1" dirty="0" smtClean="0">
                <a:solidFill>
                  <a:srgbClr val="5890C8"/>
                </a:solidFill>
                <a:latin typeface="Calibri" panose="020F0502020204030204" pitchFamily="34" charset="0"/>
              </a:rPr>
              <a:t>Grudzień 2018</a:t>
            </a:r>
            <a:endParaRPr lang="pl-PL" altLang="en-US" sz="2400" b="1" dirty="0">
              <a:solidFill>
                <a:srgbClr val="5890C8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5722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436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5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332855"/>
              </p:ext>
            </p:extLst>
          </p:nvPr>
        </p:nvGraphicFramePr>
        <p:xfrm>
          <a:off x="457200" y="1340768"/>
          <a:ext cx="8991600" cy="11972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8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94612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954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91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1</a:t>
                      </a:r>
                      <a:endParaRPr lang="pl-PL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zygotowanie listy usług rekomendowanych do cyfryzacji</a:t>
                      </a:r>
                      <a:endParaRPr lang="pl-PL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2</a:t>
                      </a:r>
                      <a:endParaRPr lang="pl-PL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eryfikacja ekspercka ścieżki użytkownika w usługach planowanych do wdrożenia w 2018 </a:t>
                      </a:r>
                      <a:endParaRPr lang="pl-PL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pl-PL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3</a:t>
                      </a:r>
                      <a:endParaRPr lang="pl-PL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Doręczenia</a:t>
                      </a:r>
                      <a:r>
                        <a:rPr lang="pl-PL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5366" name="Title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675439" cy="831850"/>
          </a:xfrm>
        </p:spPr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Cele strumienia </a:t>
            </a:r>
            <a:r>
              <a:rPr lang="pl-PL" altLang="pl-PL" dirty="0" smtClean="0">
                <a:solidFill>
                  <a:srgbClr val="DC6E00"/>
                </a:solidFill>
              </a:rPr>
              <a:t>Cyfrowe Usługi Publiczne </a:t>
            </a:r>
            <a:r>
              <a:rPr lang="pl-PL" altLang="pl-PL" dirty="0" smtClean="0">
                <a:solidFill>
                  <a:srgbClr val="0166B6"/>
                </a:solidFill>
              </a:rPr>
              <a:t>są aktualnie </a:t>
            </a:r>
            <a:br>
              <a:rPr lang="pl-PL" altLang="pl-PL" dirty="0" smtClean="0">
                <a:solidFill>
                  <a:srgbClr val="0166B6"/>
                </a:solidFill>
              </a:rPr>
            </a:br>
            <a:r>
              <a:rPr lang="pl-PL" altLang="pl-PL" dirty="0" smtClean="0">
                <a:solidFill>
                  <a:srgbClr val="0166B6"/>
                </a:solidFill>
              </a:rPr>
              <a:t>realizowane </a:t>
            </a:r>
            <a:r>
              <a:rPr lang="pl-PL" altLang="pl-PL" dirty="0">
                <a:solidFill>
                  <a:srgbClr val="0166B6"/>
                </a:solidFill>
              </a:rPr>
              <a:t>w ramach </a:t>
            </a:r>
            <a:r>
              <a:rPr lang="pl-PL" altLang="pl-PL" dirty="0" smtClean="0">
                <a:solidFill>
                  <a:srgbClr val="DC6E00"/>
                </a:solidFill>
              </a:rPr>
              <a:t>trzech </a:t>
            </a:r>
            <a:r>
              <a:rPr lang="pl-PL" altLang="pl-PL" dirty="0">
                <a:solidFill>
                  <a:srgbClr val="DC6E00"/>
                </a:solidFill>
              </a:rPr>
              <a:t>głównych projektów</a:t>
            </a:r>
            <a:endParaRPr lang="pl-PL" altLang="pl-PL" dirty="0">
              <a:solidFill>
                <a:srgbClr val="0166B6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750081" y="6485547"/>
            <a:ext cx="17956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Wczesne prace koncepcyjne</a:t>
            </a:r>
          </a:p>
        </p:txBody>
      </p:sp>
      <p:sp>
        <p:nvSpPr>
          <p:cNvPr id="93" name="Rectangle 92"/>
          <p:cNvSpPr/>
          <p:nvPr/>
        </p:nvSpPr>
        <p:spPr>
          <a:xfrm>
            <a:off x="641350" y="6489944"/>
            <a:ext cx="816249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94" name="Oval 93"/>
          <p:cNvSpPr/>
          <p:nvPr/>
        </p:nvSpPr>
        <p:spPr bwMode="gray">
          <a:xfrm>
            <a:off x="3516313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5" name="Arc 94"/>
          <p:cNvSpPr/>
          <p:nvPr/>
        </p:nvSpPr>
        <p:spPr bwMode="gray">
          <a:xfrm>
            <a:off x="3516313" y="6513158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3724275" y="6485547"/>
            <a:ext cx="21691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awansowane prace koncepcyjne</a:t>
            </a:r>
          </a:p>
        </p:txBody>
      </p:sp>
      <p:sp>
        <p:nvSpPr>
          <p:cNvPr id="98" name="Oval 97"/>
          <p:cNvSpPr/>
          <p:nvPr/>
        </p:nvSpPr>
        <p:spPr bwMode="gray">
          <a:xfrm>
            <a:off x="5904097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1" name="Arc 110"/>
          <p:cNvSpPr/>
          <p:nvPr/>
        </p:nvSpPr>
        <p:spPr bwMode="gray">
          <a:xfrm>
            <a:off x="5904097" y="6513158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6112059" y="6485547"/>
            <a:ext cx="181171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116" name="Oval 115"/>
          <p:cNvSpPr/>
          <p:nvPr/>
        </p:nvSpPr>
        <p:spPr bwMode="gray">
          <a:xfrm>
            <a:off x="7889193" y="6513158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8106681" y="6485547"/>
            <a:ext cx="862737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129" name="Oval 128"/>
          <p:cNvSpPr/>
          <p:nvPr>
            <p:custDataLst>
              <p:tags r:id="rId3"/>
            </p:custDataLst>
          </p:nvPr>
        </p:nvSpPr>
        <p:spPr bwMode="gray">
          <a:xfrm>
            <a:off x="433388" y="65182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5" name="Oval 134"/>
          <p:cNvSpPr/>
          <p:nvPr>
            <p:custDataLst>
              <p:tags r:id="rId4"/>
            </p:custDataLst>
          </p:nvPr>
        </p:nvSpPr>
        <p:spPr bwMode="gray">
          <a:xfrm>
            <a:off x="1447800" y="652462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7" name="Arc 136"/>
          <p:cNvSpPr/>
          <p:nvPr>
            <p:custDataLst>
              <p:tags r:id="rId5"/>
            </p:custDataLst>
          </p:nvPr>
        </p:nvSpPr>
        <p:spPr bwMode="gray">
          <a:xfrm>
            <a:off x="1447800" y="6524625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20" name="Oval 119"/>
          <p:cNvSpPr/>
          <p:nvPr/>
        </p:nvSpPr>
        <p:spPr bwMode="auto">
          <a:xfrm>
            <a:off x="8092393" y="1785024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41" name="Oval 140"/>
          <p:cNvSpPr/>
          <p:nvPr/>
        </p:nvSpPr>
        <p:spPr bwMode="auto">
          <a:xfrm>
            <a:off x="8092393" y="2044025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0" name="Oval 49"/>
          <p:cNvSpPr/>
          <p:nvPr/>
        </p:nvSpPr>
        <p:spPr bwMode="auto">
          <a:xfrm>
            <a:off x="8086319" y="2305467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2" name="Oval 128"/>
          <p:cNvSpPr/>
          <p:nvPr/>
        </p:nvSpPr>
        <p:spPr bwMode="gray">
          <a:xfrm>
            <a:off x="7260393" y="1785024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3" name="Oval 128"/>
          <p:cNvSpPr/>
          <p:nvPr/>
        </p:nvSpPr>
        <p:spPr bwMode="gray">
          <a:xfrm>
            <a:off x="7260393" y="2037189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4" name="Oval 128"/>
          <p:cNvSpPr/>
          <p:nvPr/>
        </p:nvSpPr>
        <p:spPr bwMode="gray">
          <a:xfrm>
            <a:off x="7256667" y="2302049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2" name="Arc 136"/>
          <p:cNvSpPr/>
          <p:nvPr/>
        </p:nvSpPr>
        <p:spPr bwMode="gray">
          <a:xfrm>
            <a:off x="7256667" y="1785024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53" name="Arc 136"/>
          <p:cNvSpPr/>
          <p:nvPr/>
        </p:nvSpPr>
        <p:spPr bwMode="gray">
          <a:xfrm>
            <a:off x="7256667" y="2044025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54" name="Arc 94"/>
          <p:cNvSpPr/>
          <p:nvPr/>
        </p:nvSpPr>
        <p:spPr bwMode="gray">
          <a:xfrm>
            <a:off x="7242252" y="2305467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7190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928142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76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56874" lvl="3" indent="-194331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biznesowy: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omasz Wiśniewski (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BR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Polska)</a:t>
            </a:r>
            <a:endParaRPr lang="pl-PL" sz="1517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drożeniowy: Renata 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omasiewicz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F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pl-PL" sz="1517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Strumień</a:t>
            </a:r>
            <a:r>
              <a:rPr lang="pl-PL" altLang="pl-PL" dirty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e-Sprawozdawczość </a:t>
            </a:r>
            <a:r>
              <a:rPr lang="pl-PL" altLang="pl-PL" dirty="0" smtClean="0">
                <a:solidFill>
                  <a:srgbClr val="0166B6"/>
                </a:solidFill>
              </a:rPr>
              <a:t>pracuje nad usunięciem redundancji danych sprawozdawczych przedsiębiorców</a:t>
            </a:r>
          </a:p>
        </p:txBody>
      </p:sp>
      <p:sp>
        <p:nvSpPr>
          <p:cNvPr id="13322" name="Text Placeholder 2"/>
          <p:cNvSpPr txBox="1">
            <a:spLocks/>
          </p:cNvSpPr>
          <p:nvPr/>
        </p:nvSpPr>
        <p:spPr bwMode="auto">
          <a:xfrm>
            <a:off x="5202371" y="3380703"/>
            <a:ext cx="4287440" cy="1901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500" tIns="11700" rIns="19500" bIns="11700">
            <a:spAutoFit/>
          </a:bodyPr>
          <a:lstStyle/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Publikacja przez Ministerstwo Finansów struktur logicznych (</a:t>
            </a:r>
            <a:r>
              <a:rPr lang="pl-PL" altLang="pl-PL" sz="1300" dirty="0" err="1">
                <a:latin typeface="Calibri" pitchFamily="34" charset="0"/>
              </a:rPr>
              <a:t>schem</a:t>
            </a:r>
            <a:r>
              <a:rPr lang="pl-PL" altLang="pl-PL" sz="1300" dirty="0">
                <a:latin typeface="Calibri" pitchFamily="34" charset="0"/>
              </a:rPr>
              <a:t>) sprawozdań finansowych.</a:t>
            </a:r>
          </a:p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Uruchomienie przez Ministerstwo Sprawiedliwości repozytorium raportów w ramach Krajowego Rejestru Sądowego.</a:t>
            </a:r>
          </a:p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Konsultacje Giełdy Papierów Wartościowych z Ministerstwem Sprawiedliwości w zakresie wykorzystania raportów KRS na potrzeby raportowania na rynku kapitałowego. </a:t>
            </a: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357156" y="3008171"/>
            <a:ext cx="2702708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6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grpSp>
        <p:nvGrpSpPr>
          <p:cNvPr id="13328" name="Group 31"/>
          <p:cNvGrpSpPr>
            <a:grpSpLocks/>
          </p:cNvGrpSpPr>
          <p:nvPr/>
        </p:nvGrpSpPr>
        <p:grpSpPr bwMode="auto">
          <a:xfrm>
            <a:off x="686197" y="1963700"/>
            <a:ext cx="702000" cy="624000"/>
            <a:chOff x="1019177" y="1648406"/>
            <a:chExt cx="869682" cy="740783"/>
          </a:xfrm>
        </p:grpSpPr>
        <p:grpSp>
          <p:nvGrpSpPr>
            <p:cNvPr id="13330" name="Group 16"/>
            <p:cNvGrpSpPr>
              <a:grpSpLocks noChangeAspect="1"/>
            </p:cNvGrpSpPr>
            <p:nvPr/>
          </p:nvGrpSpPr>
          <p:grpSpPr bwMode="auto">
            <a:xfrm>
              <a:off x="1019177" y="1648406"/>
              <a:ext cx="771027" cy="740783"/>
              <a:chOff x="1055" y="1007"/>
              <a:chExt cx="267" cy="257"/>
            </a:xfrm>
          </p:grpSpPr>
          <p:sp>
            <p:nvSpPr>
              <p:cNvPr id="13332" name="Freeform 18"/>
              <p:cNvSpPr>
                <a:spLocks/>
              </p:cNvSpPr>
              <p:nvPr/>
            </p:nvSpPr>
            <p:spPr bwMode="auto">
              <a:xfrm>
                <a:off x="1131" y="1007"/>
                <a:ext cx="97" cy="68"/>
              </a:xfrm>
              <a:custGeom>
                <a:avLst/>
                <a:gdLst>
                  <a:gd name="T0" fmla="*/ 0 w 1075"/>
                  <a:gd name="T1" fmla="*/ 0 h 748"/>
                  <a:gd name="T2" fmla="*/ 0 w 1075"/>
                  <a:gd name="T3" fmla="*/ 0 h 748"/>
                  <a:gd name="T4" fmla="*/ 0 w 1075"/>
                  <a:gd name="T5" fmla="*/ 0 h 748"/>
                  <a:gd name="T6" fmla="*/ 0 w 1075"/>
                  <a:gd name="T7" fmla="*/ 0 h 748"/>
                  <a:gd name="T8" fmla="*/ 0 w 1075"/>
                  <a:gd name="T9" fmla="*/ 0 h 748"/>
                  <a:gd name="T10" fmla="*/ 0 w 1075"/>
                  <a:gd name="T11" fmla="*/ 0 h 748"/>
                  <a:gd name="T12" fmla="*/ 0 w 1075"/>
                  <a:gd name="T13" fmla="*/ 0 h 748"/>
                  <a:gd name="T14" fmla="*/ 0 w 1075"/>
                  <a:gd name="T15" fmla="*/ 0 h 748"/>
                  <a:gd name="T16" fmla="*/ 0 w 1075"/>
                  <a:gd name="T17" fmla="*/ 0 h 748"/>
                  <a:gd name="T18" fmla="*/ 0 w 1075"/>
                  <a:gd name="T19" fmla="*/ 0 h 748"/>
                  <a:gd name="T20" fmla="*/ 0 w 1075"/>
                  <a:gd name="T21" fmla="*/ 0 h 748"/>
                  <a:gd name="T22" fmla="*/ 0 w 1075"/>
                  <a:gd name="T23" fmla="*/ 0 h 748"/>
                  <a:gd name="T24" fmla="*/ 0 w 1075"/>
                  <a:gd name="T25" fmla="*/ 0 h 748"/>
                  <a:gd name="T26" fmla="*/ 0 w 1075"/>
                  <a:gd name="T27" fmla="*/ 0 h 748"/>
                  <a:gd name="T28" fmla="*/ 0 w 1075"/>
                  <a:gd name="T29" fmla="*/ 0 h 748"/>
                  <a:gd name="T30" fmla="*/ 0 w 1075"/>
                  <a:gd name="T31" fmla="*/ 0 h 748"/>
                  <a:gd name="T32" fmla="*/ 0 w 1075"/>
                  <a:gd name="T33" fmla="*/ 0 h 748"/>
                  <a:gd name="T34" fmla="*/ 0 w 1075"/>
                  <a:gd name="T35" fmla="*/ 0 h 748"/>
                  <a:gd name="T36" fmla="*/ 0 w 1075"/>
                  <a:gd name="T37" fmla="*/ 0 h 748"/>
                  <a:gd name="T38" fmla="*/ 0 w 1075"/>
                  <a:gd name="T39" fmla="*/ 0 h 748"/>
                  <a:gd name="T40" fmla="*/ 0 w 1075"/>
                  <a:gd name="T41" fmla="*/ 0 h 748"/>
                  <a:gd name="T42" fmla="*/ 0 w 1075"/>
                  <a:gd name="T43" fmla="*/ 0 h 748"/>
                  <a:gd name="T44" fmla="*/ 0 w 1075"/>
                  <a:gd name="T45" fmla="*/ 0 h 748"/>
                  <a:gd name="T46" fmla="*/ 0 w 1075"/>
                  <a:gd name="T47" fmla="*/ 0 h 748"/>
                  <a:gd name="T48" fmla="*/ 0 w 1075"/>
                  <a:gd name="T49" fmla="*/ 0 h 748"/>
                  <a:gd name="T50" fmla="*/ 0 w 1075"/>
                  <a:gd name="T51" fmla="*/ 0 h 748"/>
                  <a:gd name="T52" fmla="*/ 0 w 1075"/>
                  <a:gd name="T53" fmla="*/ 0 h 748"/>
                  <a:gd name="T54" fmla="*/ 0 w 1075"/>
                  <a:gd name="T55" fmla="*/ 0 h 748"/>
                  <a:gd name="T56" fmla="*/ 0 w 1075"/>
                  <a:gd name="T57" fmla="*/ 0 h 748"/>
                  <a:gd name="T58" fmla="*/ 0 w 1075"/>
                  <a:gd name="T59" fmla="*/ 0 h 748"/>
                  <a:gd name="T60" fmla="*/ 0 w 1075"/>
                  <a:gd name="T61" fmla="*/ 0 h 748"/>
                  <a:gd name="T62" fmla="*/ 0 w 1075"/>
                  <a:gd name="T63" fmla="*/ 0 h 748"/>
                  <a:gd name="T64" fmla="*/ 0 w 1075"/>
                  <a:gd name="T65" fmla="*/ 0 h 748"/>
                  <a:gd name="T66" fmla="*/ 0 w 1075"/>
                  <a:gd name="T67" fmla="*/ 0 h 748"/>
                  <a:gd name="T68" fmla="*/ 0 w 1075"/>
                  <a:gd name="T69" fmla="*/ 0 h 748"/>
                  <a:gd name="T70" fmla="*/ 0 w 1075"/>
                  <a:gd name="T71" fmla="*/ 0 h 74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5"/>
                  <a:gd name="T109" fmla="*/ 0 h 748"/>
                  <a:gd name="T110" fmla="*/ 1075 w 1075"/>
                  <a:gd name="T111" fmla="*/ 748 h 74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5" h="748">
                    <a:moveTo>
                      <a:pt x="902" y="0"/>
                    </a:moveTo>
                    <a:lnTo>
                      <a:pt x="916" y="4"/>
                    </a:lnTo>
                    <a:lnTo>
                      <a:pt x="928" y="12"/>
                    </a:lnTo>
                    <a:lnTo>
                      <a:pt x="936" y="23"/>
                    </a:lnTo>
                    <a:lnTo>
                      <a:pt x="1071" y="303"/>
                    </a:lnTo>
                    <a:lnTo>
                      <a:pt x="1075" y="317"/>
                    </a:lnTo>
                    <a:lnTo>
                      <a:pt x="1074" y="332"/>
                    </a:lnTo>
                    <a:lnTo>
                      <a:pt x="1068" y="344"/>
                    </a:lnTo>
                    <a:lnTo>
                      <a:pt x="1063" y="350"/>
                    </a:lnTo>
                    <a:lnTo>
                      <a:pt x="1059" y="354"/>
                    </a:lnTo>
                    <a:lnTo>
                      <a:pt x="1045" y="361"/>
                    </a:lnTo>
                    <a:lnTo>
                      <a:pt x="1031" y="363"/>
                    </a:lnTo>
                    <a:lnTo>
                      <a:pt x="721" y="339"/>
                    </a:lnTo>
                    <a:lnTo>
                      <a:pt x="707" y="336"/>
                    </a:lnTo>
                    <a:lnTo>
                      <a:pt x="695" y="328"/>
                    </a:lnTo>
                    <a:lnTo>
                      <a:pt x="686" y="316"/>
                    </a:lnTo>
                    <a:lnTo>
                      <a:pt x="682" y="302"/>
                    </a:lnTo>
                    <a:lnTo>
                      <a:pt x="683" y="288"/>
                    </a:lnTo>
                    <a:lnTo>
                      <a:pt x="690" y="274"/>
                    </a:lnTo>
                    <a:lnTo>
                      <a:pt x="708" y="247"/>
                    </a:lnTo>
                    <a:lnTo>
                      <a:pt x="659" y="243"/>
                    </a:lnTo>
                    <a:lnTo>
                      <a:pt x="609" y="244"/>
                    </a:lnTo>
                    <a:lnTo>
                      <a:pt x="559" y="251"/>
                    </a:lnTo>
                    <a:lnTo>
                      <a:pt x="511" y="265"/>
                    </a:lnTo>
                    <a:lnTo>
                      <a:pt x="465" y="282"/>
                    </a:lnTo>
                    <a:lnTo>
                      <a:pt x="421" y="306"/>
                    </a:lnTo>
                    <a:lnTo>
                      <a:pt x="379" y="334"/>
                    </a:lnTo>
                    <a:lnTo>
                      <a:pt x="342" y="364"/>
                    </a:lnTo>
                    <a:lnTo>
                      <a:pt x="310" y="398"/>
                    </a:lnTo>
                    <a:lnTo>
                      <a:pt x="282" y="435"/>
                    </a:lnTo>
                    <a:lnTo>
                      <a:pt x="258" y="474"/>
                    </a:lnTo>
                    <a:lnTo>
                      <a:pt x="238" y="514"/>
                    </a:lnTo>
                    <a:lnTo>
                      <a:pt x="222" y="558"/>
                    </a:lnTo>
                    <a:lnTo>
                      <a:pt x="212" y="603"/>
                    </a:lnTo>
                    <a:lnTo>
                      <a:pt x="205" y="648"/>
                    </a:lnTo>
                    <a:lnTo>
                      <a:pt x="203" y="695"/>
                    </a:lnTo>
                    <a:lnTo>
                      <a:pt x="202" y="709"/>
                    </a:lnTo>
                    <a:lnTo>
                      <a:pt x="196" y="720"/>
                    </a:lnTo>
                    <a:lnTo>
                      <a:pt x="188" y="730"/>
                    </a:lnTo>
                    <a:lnTo>
                      <a:pt x="177" y="735"/>
                    </a:lnTo>
                    <a:lnTo>
                      <a:pt x="166" y="738"/>
                    </a:lnTo>
                    <a:lnTo>
                      <a:pt x="45" y="748"/>
                    </a:lnTo>
                    <a:lnTo>
                      <a:pt x="33" y="747"/>
                    </a:lnTo>
                    <a:lnTo>
                      <a:pt x="23" y="743"/>
                    </a:lnTo>
                    <a:lnTo>
                      <a:pt x="13" y="737"/>
                    </a:lnTo>
                    <a:lnTo>
                      <a:pt x="7" y="728"/>
                    </a:lnTo>
                    <a:lnTo>
                      <a:pt x="2" y="718"/>
                    </a:lnTo>
                    <a:lnTo>
                      <a:pt x="0" y="707"/>
                    </a:lnTo>
                    <a:lnTo>
                      <a:pt x="1" y="650"/>
                    </a:lnTo>
                    <a:lnTo>
                      <a:pt x="6" y="594"/>
                    </a:lnTo>
                    <a:lnTo>
                      <a:pt x="16" y="540"/>
                    </a:lnTo>
                    <a:lnTo>
                      <a:pt x="32" y="486"/>
                    </a:lnTo>
                    <a:lnTo>
                      <a:pt x="51" y="434"/>
                    </a:lnTo>
                    <a:lnTo>
                      <a:pt x="75" y="384"/>
                    </a:lnTo>
                    <a:lnTo>
                      <a:pt x="104" y="336"/>
                    </a:lnTo>
                    <a:lnTo>
                      <a:pt x="135" y="291"/>
                    </a:lnTo>
                    <a:lnTo>
                      <a:pt x="172" y="248"/>
                    </a:lnTo>
                    <a:lnTo>
                      <a:pt x="211" y="208"/>
                    </a:lnTo>
                    <a:lnTo>
                      <a:pt x="255" y="172"/>
                    </a:lnTo>
                    <a:lnTo>
                      <a:pt x="306" y="136"/>
                    </a:lnTo>
                    <a:lnTo>
                      <a:pt x="360" y="106"/>
                    </a:lnTo>
                    <a:lnTo>
                      <a:pt x="415" y="81"/>
                    </a:lnTo>
                    <a:lnTo>
                      <a:pt x="472" y="62"/>
                    </a:lnTo>
                    <a:lnTo>
                      <a:pt x="531" y="48"/>
                    </a:lnTo>
                    <a:lnTo>
                      <a:pt x="591" y="40"/>
                    </a:lnTo>
                    <a:lnTo>
                      <a:pt x="651" y="38"/>
                    </a:lnTo>
                    <a:lnTo>
                      <a:pt x="712" y="41"/>
                    </a:lnTo>
                    <a:lnTo>
                      <a:pt x="772" y="50"/>
                    </a:lnTo>
                    <a:lnTo>
                      <a:pt x="832" y="65"/>
                    </a:lnTo>
                    <a:lnTo>
                      <a:pt x="865" y="18"/>
                    </a:lnTo>
                    <a:lnTo>
                      <a:pt x="874" y="7"/>
                    </a:lnTo>
                    <a:lnTo>
                      <a:pt x="888" y="2"/>
                    </a:lnTo>
                    <a:lnTo>
                      <a:pt x="9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3" name="Freeform 19"/>
              <p:cNvSpPr>
                <a:spLocks/>
              </p:cNvSpPr>
              <p:nvPr/>
            </p:nvSpPr>
            <p:spPr bwMode="auto">
              <a:xfrm>
                <a:off x="1225" y="1163"/>
                <a:ext cx="97" cy="68"/>
              </a:xfrm>
              <a:custGeom>
                <a:avLst/>
                <a:gdLst>
                  <a:gd name="T0" fmla="*/ 0 w 1074"/>
                  <a:gd name="T1" fmla="*/ 0 h 746"/>
                  <a:gd name="T2" fmla="*/ 0 w 1074"/>
                  <a:gd name="T3" fmla="*/ 0 h 746"/>
                  <a:gd name="T4" fmla="*/ 0 w 1074"/>
                  <a:gd name="T5" fmla="*/ 0 h 746"/>
                  <a:gd name="T6" fmla="*/ 0 w 1074"/>
                  <a:gd name="T7" fmla="*/ 0 h 746"/>
                  <a:gd name="T8" fmla="*/ 0 w 1074"/>
                  <a:gd name="T9" fmla="*/ 0 h 746"/>
                  <a:gd name="T10" fmla="*/ 0 w 1074"/>
                  <a:gd name="T11" fmla="*/ 0 h 746"/>
                  <a:gd name="T12" fmla="*/ 0 w 1074"/>
                  <a:gd name="T13" fmla="*/ 0 h 746"/>
                  <a:gd name="T14" fmla="*/ 0 w 1074"/>
                  <a:gd name="T15" fmla="*/ 0 h 746"/>
                  <a:gd name="T16" fmla="*/ 0 w 1074"/>
                  <a:gd name="T17" fmla="*/ 0 h 746"/>
                  <a:gd name="T18" fmla="*/ 0 w 1074"/>
                  <a:gd name="T19" fmla="*/ 0 h 746"/>
                  <a:gd name="T20" fmla="*/ 0 w 1074"/>
                  <a:gd name="T21" fmla="*/ 0 h 746"/>
                  <a:gd name="T22" fmla="*/ 0 w 1074"/>
                  <a:gd name="T23" fmla="*/ 0 h 746"/>
                  <a:gd name="T24" fmla="*/ 0 w 1074"/>
                  <a:gd name="T25" fmla="*/ 0 h 746"/>
                  <a:gd name="T26" fmla="*/ 0 w 1074"/>
                  <a:gd name="T27" fmla="*/ 0 h 746"/>
                  <a:gd name="T28" fmla="*/ 0 w 1074"/>
                  <a:gd name="T29" fmla="*/ 0 h 746"/>
                  <a:gd name="T30" fmla="*/ 0 w 1074"/>
                  <a:gd name="T31" fmla="*/ 0 h 746"/>
                  <a:gd name="T32" fmla="*/ 0 w 1074"/>
                  <a:gd name="T33" fmla="*/ 0 h 746"/>
                  <a:gd name="T34" fmla="*/ 0 w 1074"/>
                  <a:gd name="T35" fmla="*/ 0 h 746"/>
                  <a:gd name="T36" fmla="*/ 0 w 1074"/>
                  <a:gd name="T37" fmla="*/ 0 h 746"/>
                  <a:gd name="T38" fmla="*/ 0 w 1074"/>
                  <a:gd name="T39" fmla="*/ 0 h 746"/>
                  <a:gd name="T40" fmla="*/ 0 w 1074"/>
                  <a:gd name="T41" fmla="*/ 0 h 746"/>
                  <a:gd name="T42" fmla="*/ 0 w 1074"/>
                  <a:gd name="T43" fmla="*/ 0 h 746"/>
                  <a:gd name="T44" fmla="*/ 0 w 1074"/>
                  <a:gd name="T45" fmla="*/ 0 h 746"/>
                  <a:gd name="T46" fmla="*/ 0 w 1074"/>
                  <a:gd name="T47" fmla="*/ 0 h 746"/>
                  <a:gd name="T48" fmla="*/ 0 w 1074"/>
                  <a:gd name="T49" fmla="*/ 0 h 746"/>
                  <a:gd name="T50" fmla="*/ 0 w 1074"/>
                  <a:gd name="T51" fmla="*/ 0 h 746"/>
                  <a:gd name="T52" fmla="*/ 0 w 1074"/>
                  <a:gd name="T53" fmla="*/ 0 h 746"/>
                  <a:gd name="T54" fmla="*/ 0 w 1074"/>
                  <a:gd name="T55" fmla="*/ 0 h 746"/>
                  <a:gd name="T56" fmla="*/ 0 w 1074"/>
                  <a:gd name="T57" fmla="*/ 0 h 746"/>
                  <a:gd name="T58" fmla="*/ 0 w 1074"/>
                  <a:gd name="T59" fmla="*/ 0 h 746"/>
                  <a:gd name="T60" fmla="*/ 0 w 1074"/>
                  <a:gd name="T61" fmla="*/ 0 h 746"/>
                  <a:gd name="T62" fmla="*/ 0 w 1074"/>
                  <a:gd name="T63" fmla="*/ 0 h 746"/>
                  <a:gd name="T64" fmla="*/ 0 w 1074"/>
                  <a:gd name="T65" fmla="*/ 0 h 746"/>
                  <a:gd name="T66" fmla="*/ 0 w 1074"/>
                  <a:gd name="T67" fmla="*/ 0 h 746"/>
                  <a:gd name="T68" fmla="*/ 0 w 1074"/>
                  <a:gd name="T69" fmla="*/ 0 h 746"/>
                  <a:gd name="T70" fmla="*/ 0 w 1074"/>
                  <a:gd name="T71" fmla="*/ 0 h 7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4"/>
                  <a:gd name="T109" fmla="*/ 0 h 746"/>
                  <a:gd name="T110" fmla="*/ 1074 w 1074"/>
                  <a:gd name="T111" fmla="*/ 746 h 7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4" h="746">
                    <a:moveTo>
                      <a:pt x="1030" y="0"/>
                    </a:moveTo>
                    <a:lnTo>
                      <a:pt x="1040" y="0"/>
                    </a:lnTo>
                    <a:lnTo>
                      <a:pt x="1051" y="4"/>
                    </a:lnTo>
                    <a:lnTo>
                      <a:pt x="1060" y="10"/>
                    </a:lnTo>
                    <a:lnTo>
                      <a:pt x="1068" y="19"/>
                    </a:lnTo>
                    <a:lnTo>
                      <a:pt x="1073" y="28"/>
                    </a:lnTo>
                    <a:lnTo>
                      <a:pt x="1074" y="40"/>
                    </a:lnTo>
                    <a:lnTo>
                      <a:pt x="1074" y="96"/>
                    </a:lnTo>
                    <a:lnTo>
                      <a:pt x="1068" y="152"/>
                    </a:lnTo>
                    <a:lnTo>
                      <a:pt x="1057" y="207"/>
                    </a:lnTo>
                    <a:lnTo>
                      <a:pt x="1043" y="260"/>
                    </a:lnTo>
                    <a:lnTo>
                      <a:pt x="1023" y="313"/>
                    </a:lnTo>
                    <a:lnTo>
                      <a:pt x="1000" y="362"/>
                    </a:lnTo>
                    <a:lnTo>
                      <a:pt x="971" y="410"/>
                    </a:lnTo>
                    <a:lnTo>
                      <a:pt x="940" y="455"/>
                    </a:lnTo>
                    <a:lnTo>
                      <a:pt x="903" y="499"/>
                    </a:lnTo>
                    <a:lnTo>
                      <a:pt x="863" y="538"/>
                    </a:lnTo>
                    <a:lnTo>
                      <a:pt x="820" y="574"/>
                    </a:lnTo>
                    <a:lnTo>
                      <a:pt x="769" y="610"/>
                    </a:lnTo>
                    <a:lnTo>
                      <a:pt x="715" y="640"/>
                    </a:lnTo>
                    <a:lnTo>
                      <a:pt x="659" y="665"/>
                    </a:lnTo>
                    <a:lnTo>
                      <a:pt x="603" y="684"/>
                    </a:lnTo>
                    <a:lnTo>
                      <a:pt x="544" y="698"/>
                    </a:lnTo>
                    <a:lnTo>
                      <a:pt x="484" y="706"/>
                    </a:lnTo>
                    <a:lnTo>
                      <a:pt x="424" y="709"/>
                    </a:lnTo>
                    <a:lnTo>
                      <a:pt x="363" y="705"/>
                    </a:lnTo>
                    <a:lnTo>
                      <a:pt x="302" y="696"/>
                    </a:lnTo>
                    <a:lnTo>
                      <a:pt x="242" y="681"/>
                    </a:lnTo>
                    <a:lnTo>
                      <a:pt x="210" y="728"/>
                    </a:lnTo>
                    <a:lnTo>
                      <a:pt x="199" y="739"/>
                    </a:lnTo>
                    <a:lnTo>
                      <a:pt x="187" y="745"/>
                    </a:lnTo>
                    <a:lnTo>
                      <a:pt x="172" y="746"/>
                    </a:lnTo>
                    <a:lnTo>
                      <a:pt x="158" y="743"/>
                    </a:lnTo>
                    <a:lnTo>
                      <a:pt x="147" y="735"/>
                    </a:lnTo>
                    <a:lnTo>
                      <a:pt x="139" y="723"/>
                    </a:lnTo>
                    <a:lnTo>
                      <a:pt x="3" y="443"/>
                    </a:lnTo>
                    <a:lnTo>
                      <a:pt x="0" y="429"/>
                    </a:lnTo>
                    <a:lnTo>
                      <a:pt x="1" y="415"/>
                    </a:lnTo>
                    <a:lnTo>
                      <a:pt x="6" y="402"/>
                    </a:lnTo>
                    <a:lnTo>
                      <a:pt x="17" y="391"/>
                    </a:lnTo>
                    <a:lnTo>
                      <a:pt x="29" y="385"/>
                    </a:lnTo>
                    <a:lnTo>
                      <a:pt x="44" y="384"/>
                    </a:lnTo>
                    <a:lnTo>
                      <a:pt x="354" y="407"/>
                    </a:lnTo>
                    <a:lnTo>
                      <a:pt x="367" y="410"/>
                    </a:lnTo>
                    <a:lnTo>
                      <a:pt x="380" y="419"/>
                    </a:lnTo>
                    <a:lnTo>
                      <a:pt x="388" y="430"/>
                    </a:lnTo>
                    <a:lnTo>
                      <a:pt x="392" y="444"/>
                    </a:lnTo>
                    <a:lnTo>
                      <a:pt x="391" y="459"/>
                    </a:lnTo>
                    <a:lnTo>
                      <a:pt x="385" y="472"/>
                    </a:lnTo>
                    <a:lnTo>
                      <a:pt x="365" y="501"/>
                    </a:lnTo>
                    <a:lnTo>
                      <a:pt x="416" y="504"/>
                    </a:lnTo>
                    <a:lnTo>
                      <a:pt x="466" y="503"/>
                    </a:lnTo>
                    <a:lnTo>
                      <a:pt x="515" y="495"/>
                    </a:lnTo>
                    <a:lnTo>
                      <a:pt x="563" y="483"/>
                    </a:lnTo>
                    <a:lnTo>
                      <a:pt x="610" y="464"/>
                    </a:lnTo>
                    <a:lnTo>
                      <a:pt x="654" y="441"/>
                    </a:lnTo>
                    <a:lnTo>
                      <a:pt x="696" y="412"/>
                    </a:lnTo>
                    <a:lnTo>
                      <a:pt x="732" y="382"/>
                    </a:lnTo>
                    <a:lnTo>
                      <a:pt x="764" y="348"/>
                    </a:lnTo>
                    <a:lnTo>
                      <a:pt x="793" y="312"/>
                    </a:lnTo>
                    <a:lnTo>
                      <a:pt x="817" y="273"/>
                    </a:lnTo>
                    <a:lnTo>
                      <a:pt x="837" y="232"/>
                    </a:lnTo>
                    <a:lnTo>
                      <a:pt x="851" y="189"/>
                    </a:lnTo>
                    <a:lnTo>
                      <a:pt x="863" y="145"/>
                    </a:lnTo>
                    <a:lnTo>
                      <a:pt x="869" y="98"/>
                    </a:lnTo>
                    <a:lnTo>
                      <a:pt x="871" y="51"/>
                    </a:lnTo>
                    <a:lnTo>
                      <a:pt x="872" y="39"/>
                    </a:lnTo>
                    <a:lnTo>
                      <a:pt x="879" y="27"/>
                    </a:lnTo>
                    <a:lnTo>
                      <a:pt x="887" y="18"/>
                    </a:lnTo>
                    <a:lnTo>
                      <a:pt x="898" y="11"/>
                    </a:lnTo>
                    <a:lnTo>
                      <a:pt x="909" y="9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4" name="Freeform 20"/>
              <p:cNvSpPr>
                <a:spLocks/>
              </p:cNvSpPr>
              <p:nvPr/>
            </p:nvSpPr>
            <p:spPr bwMode="auto">
              <a:xfrm>
                <a:off x="1099" y="1088"/>
                <a:ext cx="80" cy="95"/>
              </a:xfrm>
              <a:custGeom>
                <a:avLst/>
                <a:gdLst>
                  <a:gd name="T0" fmla="*/ 0 w 873"/>
                  <a:gd name="T1" fmla="*/ 0 h 1046"/>
                  <a:gd name="T2" fmla="*/ 0 w 873"/>
                  <a:gd name="T3" fmla="*/ 0 h 1046"/>
                  <a:gd name="T4" fmla="*/ 0 w 873"/>
                  <a:gd name="T5" fmla="*/ 0 h 1046"/>
                  <a:gd name="T6" fmla="*/ 0 w 873"/>
                  <a:gd name="T7" fmla="*/ 0 h 1046"/>
                  <a:gd name="T8" fmla="*/ 0 w 873"/>
                  <a:gd name="T9" fmla="*/ 0 h 1046"/>
                  <a:gd name="T10" fmla="*/ 0 w 873"/>
                  <a:gd name="T11" fmla="*/ 0 h 1046"/>
                  <a:gd name="T12" fmla="*/ 0 w 873"/>
                  <a:gd name="T13" fmla="*/ 0 h 1046"/>
                  <a:gd name="T14" fmla="*/ 0 w 873"/>
                  <a:gd name="T15" fmla="*/ 0 h 1046"/>
                  <a:gd name="T16" fmla="*/ 0 w 873"/>
                  <a:gd name="T17" fmla="*/ 0 h 1046"/>
                  <a:gd name="T18" fmla="*/ 0 w 873"/>
                  <a:gd name="T19" fmla="*/ 0 h 1046"/>
                  <a:gd name="T20" fmla="*/ 0 w 873"/>
                  <a:gd name="T21" fmla="*/ 0 h 1046"/>
                  <a:gd name="T22" fmla="*/ 0 w 873"/>
                  <a:gd name="T23" fmla="*/ 0 h 1046"/>
                  <a:gd name="T24" fmla="*/ 0 w 873"/>
                  <a:gd name="T25" fmla="*/ 0 h 1046"/>
                  <a:gd name="T26" fmla="*/ 0 w 873"/>
                  <a:gd name="T27" fmla="*/ 0 h 1046"/>
                  <a:gd name="T28" fmla="*/ 0 w 873"/>
                  <a:gd name="T29" fmla="*/ 0 h 1046"/>
                  <a:gd name="T30" fmla="*/ 0 w 873"/>
                  <a:gd name="T31" fmla="*/ 0 h 1046"/>
                  <a:gd name="T32" fmla="*/ 0 w 873"/>
                  <a:gd name="T33" fmla="*/ 0 h 1046"/>
                  <a:gd name="T34" fmla="*/ 0 w 873"/>
                  <a:gd name="T35" fmla="*/ 0 h 1046"/>
                  <a:gd name="T36" fmla="*/ 0 w 873"/>
                  <a:gd name="T37" fmla="*/ 0 h 1046"/>
                  <a:gd name="T38" fmla="*/ 0 w 873"/>
                  <a:gd name="T39" fmla="*/ 0 h 1046"/>
                  <a:gd name="T40" fmla="*/ 0 w 873"/>
                  <a:gd name="T41" fmla="*/ 0 h 1046"/>
                  <a:gd name="T42" fmla="*/ 0 w 873"/>
                  <a:gd name="T43" fmla="*/ 0 h 1046"/>
                  <a:gd name="T44" fmla="*/ 0 w 873"/>
                  <a:gd name="T45" fmla="*/ 0 h 1046"/>
                  <a:gd name="T46" fmla="*/ 0 w 873"/>
                  <a:gd name="T47" fmla="*/ 0 h 1046"/>
                  <a:gd name="T48" fmla="*/ 0 w 873"/>
                  <a:gd name="T49" fmla="*/ 0 h 1046"/>
                  <a:gd name="T50" fmla="*/ 0 w 873"/>
                  <a:gd name="T51" fmla="*/ 0 h 1046"/>
                  <a:gd name="T52" fmla="*/ 0 w 873"/>
                  <a:gd name="T53" fmla="*/ 0 h 1046"/>
                  <a:gd name="T54" fmla="*/ 0 w 873"/>
                  <a:gd name="T55" fmla="*/ 0 h 1046"/>
                  <a:gd name="T56" fmla="*/ 0 w 873"/>
                  <a:gd name="T57" fmla="*/ 0 h 1046"/>
                  <a:gd name="T58" fmla="*/ 0 w 873"/>
                  <a:gd name="T59" fmla="*/ 0 h 1046"/>
                  <a:gd name="T60" fmla="*/ 0 w 873"/>
                  <a:gd name="T61" fmla="*/ 0 h 1046"/>
                  <a:gd name="T62" fmla="*/ 0 w 873"/>
                  <a:gd name="T63" fmla="*/ 0 h 1046"/>
                  <a:gd name="T64" fmla="*/ 0 w 873"/>
                  <a:gd name="T65" fmla="*/ 0 h 1046"/>
                  <a:gd name="T66" fmla="*/ 0 w 873"/>
                  <a:gd name="T67" fmla="*/ 0 h 1046"/>
                  <a:gd name="T68" fmla="*/ 0 w 873"/>
                  <a:gd name="T69" fmla="*/ 0 h 1046"/>
                  <a:gd name="T70" fmla="*/ 0 w 873"/>
                  <a:gd name="T71" fmla="*/ 0 h 1046"/>
                  <a:gd name="T72" fmla="*/ 0 w 873"/>
                  <a:gd name="T73" fmla="*/ 0 h 10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73"/>
                  <a:gd name="T112" fmla="*/ 0 h 1046"/>
                  <a:gd name="T113" fmla="*/ 873 w 873"/>
                  <a:gd name="T114" fmla="*/ 1046 h 10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73" h="1046">
                    <a:moveTo>
                      <a:pt x="436" y="0"/>
                    </a:moveTo>
                    <a:lnTo>
                      <a:pt x="493" y="2"/>
                    </a:lnTo>
                    <a:lnTo>
                      <a:pt x="544" y="8"/>
                    </a:lnTo>
                    <a:lnTo>
                      <a:pt x="592" y="18"/>
                    </a:lnTo>
                    <a:lnTo>
                      <a:pt x="638" y="31"/>
                    </a:lnTo>
                    <a:lnTo>
                      <a:pt x="678" y="49"/>
                    </a:lnTo>
                    <a:lnTo>
                      <a:pt x="715" y="70"/>
                    </a:lnTo>
                    <a:lnTo>
                      <a:pt x="748" y="95"/>
                    </a:lnTo>
                    <a:lnTo>
                      <a:pt x="777" y="123"/>
                    </a:lnTo>
                    <a:lnTo>
                      <a:pt x="802" y="156"/>
                    </a:lnTo>
                    <a:lnTo>
                      <a:pt x="823" y="192"/>
                    </a:lnTo>
                    <a:lnTo>
                      <a:pt x="841" y="232"/>
                    </a:lnTo>
                    <a:lnTo>
                      <a:pt x="855" y="276"/>
                    </a:lnTo>
                    <a:lnTo>
                      <a:pt x="864" y="324"/>
                    </a:lnTo>
                    <a:lnTo>
                      <a:pt x="871" y="374"/>
                    </a:lnTo>
                    <a:lnTo>
                      <a:pt x="873" y="429"/>
                    </a:lnTo>
                    <a:lnTo>
                      <a:pt x="871" y="495"/>
                    </a:lnTo>
                    <a:lnTo>
                      <a:pt x="867" y="556"/>
                    </a:lnTo>
                    <a:lnTo>
                      <a:pt x="859" y="611"/>
                    </a:lnTo>
                    <a:lnTo>
                      <a:pt x="849" y="663"/>
                    </a:lnTo>
                    <a:lnTo>
                      <a:pt x="836" y="711"/>
                    </a:lnTo>
                    <a:lnTo>
                      <a:pt x="821" y="754"/>
                    </a:lnTo>
                    <a:lnTo>
                      <a:pt x="805" y="793"/>
                    </a:lnTo>
                    <a:lnTo>
                      <a:pt x="787" y="829"/>
                    </a:lnTo>
                    <a:lnTo>
                      <a:pt x="767" y="861"/>
                    </a:lnTo>
                    <a:lnTo>
                      <a:pt x="746" y="891"/>
                    </a:lnTo>
                    <a:lnTo>
                      <a:pt x="724" y="916"/>
                    </a:lnTo>
                    <a:lnTo>
                      <a:pt x="701" y="939"/>
                    </a:lnTo>
                    <a:lnTo>
                      <a:pt x="678" y="959"/>
                    </a:lnTo>
                    <a:lnTo>
                      <a:pt x="654" y="976"/>
                    </a:lnTo>
                    <a:lnTo>
                      <a:pt x="631" y="990"/>
                    </a:lnTo>
                    <a:lnTo>
                      <a:pt x="608" y="1003"/>
                    </a:lnTo>
                    <a:lnTo>
                      <a:pt x="585" y="1014"/>
                    </a:lnTo>
                    <a:lnTo>
                      <a:pt x="564" y="1023"/>
                    </a:lnTo>
                    <a:lnTo>
                      <a:pt x="543" y="1029"/>
                    </a:lnTo>
                    <a:lnTo>
                      <a:pt x="523" y="1036"/>
                    </a:lnTo>
                    <a:lnTo>
                      <a:pt x="504" y="1040"/>
                    </a:lnTo>
                    <a:lnTo>
                      <a:pt x="489" y="1042"/>
                    </a:lnTo>
                    <a:lnTo>
                      <a:pt x="473" y="1044"/>
                    </a:lnTo>
                    <a:lnTo>
                      <a:pt x="460" y="1046"/>
                    </a:lnTo>
                    <a:lnTo>
                      <a:pt x="451" y="1046"/>
                    </a:lnTo>
                    <a:lnTo>
                      <a:pt x="443" y="1046"/>
                    </a:lnTo>
                    <a:lnTo>
                      <a:pt x="438" y="1046"/>
                    </a:lnTo>
                    <a:lnTo>
                      <a:pt x="436" y="1046"/>
                    </a:lnTo>
                    <a:lnTo>
                      <a:pt x="388" y="1044"/>
                    </a:lnTo>
                    <a:lnTo>
                      <a:pt x="340" y="1037"/>
                    </a:lnTo>
                    <a:lnTo>
                      <a:pt x="297" y="1024"/>
                    </a:lnTo>
                    <a:lnTo>
                      <a:pt x="255" y="1006"/>
                    </a:lnTo>
                    <a:lnTo>
                      <a:pt x="218" y="983"/>
                    </a:lnTo>
                    <a:lnTo>
                      <a:pt x="182" y="955"/>
                    </a:lnTo>
                    <a:lnTo>
                      <a:pt x="149" y="922"/>
                    </a:lnTo>
                    <a:lnTo>
                      <a:pt x="119" y="884"/>
                    </a:lnTo>
                    <a:lnTo>
                      <a:pt x="93" y="842"/>
                    </a:lnTo>
                    <a:lnTo>
                      <a:pt x="70" y="795"/>
                    </a:lnTo>
                    <a:lnTo>
                      <a:pt x="50" y="745"/>
                    </a:lnTo>
                    <a:lnTo>
                      <a:pt x="32" y="689"/>
                    </a:lnTo>
                    <a:lnTo>
                      <a:pt x="19" y="630"/>
                    </a:lnTo>
                    <a:lnTo>
                      <a:pt x="9" y="567"/>
                    </a:lnTo>
                    <a:lnTo>
                      <a:pt x="2" y="500"/>
                    </a:lnTo>
                    <a:lnTo>
                      <a:pt x="0" y="429"/>
                    </a:lnTo>
                    <a:lnTo>
                      <a:pt x="1" y="374"/>
                    </a:lnTo>
                    <a:lnTo>
                      <a:pt x="8" y="324"/>
                    </a:lnTo>
                    <a:lnTo>
                      <a:pt x="17" y="276"/>
                    </a:lnTo>
                    <a:lnTo>
                      <a:pt x="31" y="232"/>
                    </a:lnTo>
                    <a:lnTo>
                      <a:pt x="49" y="192"/>
                    </a:lnTo>
                    <a:lnTo>
                      <a:pt x="71" y="156"/>
                    </a:lnTo>
                    <a:lnTo>
                      <a:pt x="97" y="123"/>
                    </a:lnTo>
                    <a:lnTo>
                      <a:pt x="126" y="95"/>
                    </a:lnTo>
                    <a:lnTo>
                      <a:pt x="160" y="70"/>
                    </a:lnTo>
                    <a:lnTo>
                      <a:pt x="197" y="49"/>
                    </a:lnTo>
                    <a:lnTo>
                      <a:pt x="238" y="31"/>
                    </a:lnTo>
                    <a:lnTo>
                      <a:pt x="283" y="18"/>
                    </a:lnTo>
                    <a:lnTo>
                      <a:pt x="330" y="8"/>
                    </a:lnTo>
                    <a:lnTo>
                      <a:pt x="381" y="2"/>
                    </a:lnTo>
                    <a:lnTo>
                      <a:pt x="43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5" name="Freeform 21"/>
              <p:cNvSpPr>
                <a:spLocks/>
              </p:cNvSpPr>
              <p:nvPr/>
            </p:nvSpPr>
            <p:spPr bwMode="auto">
              <a:xfrm>
                <a:off x="1055" y="1185"/>
                <a:ext cx="168" cy="79"/>
              </a:xfrm>
              <a:custGeom>
                <a:avLst/>
                <a:gdLst>
                  <a:gd name="T0" fmla="*/ 0 w 1849"/>
                  <a:gd name="T1" fmla="*/ 0 h 875"/>
                  <a:gd name="T2" fmla="*/ 0 w 1849"/>
                  <a:gd name="T3" fmla="*/ 0 h 875"/>
                  <a:gd name="T4" fmla="*/ 0 w 1849"/>
                  <a:gd name="T5" fmla="*/ 0 h 875"/>
                  <a:gd name="T6" fmla="*/ 0 w 1849"/>
                  <a:gd name="T7" fmla="*/ 0 h 875"/>
                  <a:gd name="T8" fmla="*/ 0 w 1849"/>
                  <a:gd name="T9" fmla="*/ 0 h 875"/>
                  <a:gd name="T10" fmla="*/ 0 w 1849"/>
                  <a:gd name="T11" fmla="*/ 0 h 875"/>
                  <a:gd name="T12" fmla="*/ 0 w 1849"/>
                  <a:gd name="T13" fmla="*/ 0 h 875"/>
                  <a:gd name="T14" fmla="*/ 0 w 1849"/>
                  <a:gd name="T15" fmla="*/ 0 h 875"/>
                  <a:gd name="T16" fmla="*/ 0 w 1849"/>
                  <a:gd name="T17" fmla="*/ 0 h 875"/>
                  <a:gd name="T18" fmla="*/ 0 w 1849"/>
                  <a:gd name="T19" fmla="*/ 0 h 875"/>
                  <a:gd name="T20" fmla="*/ 0 w 1849"/>
                  <a:gd name="T21" fmla="*/ 0 h 875"/>
                  <a:gd name="T22" fmla="*/ 0 w 1849"/>
                  <a:gd name="T23" fmla="*/ 0 h 875"/>
                  <a:gd name="T24" fmla="*/ 0 w 1849"/>
                  <a:gd name="T25" fmla="*/ 0 h 875"/>
                  <a:gd name="T26" fmla="*/ 0 w 1849"/>
                  <a:gd name="T27" fmla="*/ 0 h 875"/>
                  <a:gd name="T28" fmla="*/ 0 w 1849"/>
                  <a:gd name="T29" fmla="*/ 0 h 875"/>
                  <a:gd name="T30" fmla="*/ 0 w 1849"/>
                  <a:gd name="T31" fmla="*/ 0 h 875"/>
                  <a:gd name="T32" fmla="*/ 0 w 1849"/>
                  <a:gd name="T33" fmla="*/ 0 h 875"/>
                  <a:gd name="T34" fmla="*/ 0 w 1849"/>
                  <a:gd name="T35" fmla="*/ 0 h 875"/>
                  <a:gd name="T36" fmla="*/ 0 w 1849"/>
                  <a:gd name="T37" fmla="*/ 0 h 875"/>
                  <a:gd name="T38" fmla="*/ 0 w 1849"/>
                  <a:gd name="T39" fmla="*/ 0 h 875"/>
                  <a:gd name="T40" fmla="*/ 0 w 1849"/>
                  <a:gd name="T41" fmla="*/ 0 h 875"/>
                  <a:gd name="T42" fmla="*/ 0 w 1849"/>
                  <a:gd name="T43" fmla="*/ 0 h 875"/>
                  <a:gd name="T44" fmla="*/ 0 w 1849"/>
                  <a:gd name="T45" fmla="*/ 0 h 875"/>
                  <a:gd name="T46" fmla="*/ 0 w 1849"/>
                  <a:gd name="T47" fmla="*/ 0 h 875"/>
                  <a:gd name="T48" fmla="*/ 0 w 1849"/>
                  <a:gd name="T49" fmla="*/ 0 h 875"/>
                  <a:gd name="T50" fmla="*/ 0 w 1849"/>
                  <a:gd name="T51" fmla="*/ 0 h 875"/>
                  <a:gd name="T52" fmla="*/ 0 w 1849"/>
                  <a:gd name="T53" fmla="*/ 0 h 875"/>
                  <a:gd name="T54" fmla="*/ 0 w 1849"/>
                  <a:gd name="T55" fmla="*/ 0 h 875"/>
                  <a:gd name="T56" fmla="*/ 0 w 1849"/>
                  <a:gd name="T57" fmla="*/ 0 h 875"/>
                  <a:gd name="T58" fmla="*/ 0 w 1849"/>
                  <a:gd name="T59" fmla="*/ 0 h 875"/>
                  <a:gd name="T60" fmla="*/ 0 w 1849"/>
                  <a:gd name="T61" fmla="*/ 0 h 875"/>
                  <a:gd name="T62" fmla="*/ 0 w 1849"/>
                  <a:gd name="T63" fmla="*/ 0 h 875"/>
                  <a:gd name="T64" fmla="*/ 0 w 1849"/>
                  <a:gd name="T65" fmla="*/ 0 h 875"/>
                  <a:gd name="T66" fmla="*/ 0 w 1849"/>
                  <a:gd name="T67" fmla="*/ 0 h 875"/>
                  <a:gd name="T68" fmla="*/ 0 w 1849"/>
                  <a:gd name="T69" fmla="*/ 0 h 875"/>
                  <a:gd name="T70" fmla="*/ 0 w 1849"/>
                  <a:gd name="T71" fmla="*/ 0 h 875"/>
                  <a:gd name="T72" fmla="*/ 0 w 1849"/>
                  <a:gd name="T73" fmla="*/ 0 h 875"/>
                  <a:gd name="T74" fmla="*/ 0 w 1849"/>
                  <a:gd name="T75" fmla="*/ 0 h 875"/>
                  <a:gd name="T76" fmla="*/ 0 w 1849"/>
                  <a:gd name="T77" fmla="*/ 0 h 875"/>
                  <a:gd name="T78" fmla="*/ 0 w 1849"/>
                  <a:gd name="T79" fmla="*/ 0 h 875"/>
                  <a:gd name="T80" fmla="*/ 0 w 1849"/>
                  <a:gd name="T81" fmla="*/ 0 h 875"/>
                  <a:gd name="T82" fmla="*/ 0 w 1849"/>
                  <a:gd name="T83" fmla="*/ 0 h 875"/>
                  <a:gd name="T84" fmla="*/ 0 w 1849"/>
                  <a:gd name="T85" fmla="*/ 0 h 875"/>
                  <a:gd name="T86" fmla="*/ 0 w 1849"/>
                  <a:gd name="T87" fmla="*/ 0 h 875"/>
                  <a:gd name="T88" fmla="*/ 0 w 1849"/>
                  <a:gd name="T89" fmla="*/ 0 h 875"/>
                  <a:gd name="T90" fmla="*/ 0 w 1849"/>
                  <a:gd name="T91" fmla="*/ 0 h 875"/>
                  <a:gd name="T92" fmla="*/ 0 w 1849"/>
                  <a:gd name="T93" fmla="*/ 0 h 875"/>
                  <a:gd name="T94" fmla="*/ 0 w 1849"/>
                  <a:gd name="T95" fmla="*/ 0 h 875"/>
                  <a:gd name="T96" fmla="*/ 0 w 1849"/>
                  <a:gd name="T97" fmla="*/ 0 h 875"/>
                  <a:gd name="T98" fmla="*/ 0 w 1849"/>
                  <a:gd name="T99" fmla="*/ 0 h 875"/>
                  <a:gd name="T100" fmla="*/ 0 w 1849"/>
                  <a:gd name="T101" fmla="*/ 0 h 875"/>
                  <a:gd name="T102" fmla="*/ 0 w 1849"/>
                  <a:gd name="T103" fmla="*/ 0 h 875"/>
                  <a:gd name="T104" fmla="*/ 0 w 1849"/>
                  <a:gd name="T105" fmla="*/ 0 h 875"/>
                  <a:gd name="T106" fmla="*/ 0 w 1849"/>
                  <a:gd name="T107" fmla="*/ 0 h 875"/>
                  <a:gd name="T108" fmla="*/ 0 w 1849"/>
                  <a:gd name="T109" fmla="*/ 0 h 875"/>
                  <a:gd name="T110" fmla="*/ 0 w 1849"/>
                  <a:gd name="T111" fmla="*/ 0 h 875"/>
                  <a:gd name="T112" fmla="*/ 0 w 1849"/>
                  <a:gd name="T113" fmla="*/ 0 h 875"/>
                  <a:gd name="T114" fmla="*/ 0 w 1849"/>
                  <a:gd name="T115" fmla="*/ 0 h 875"/>
                  <a:gd name="T116" fmla="*/ 0 w 1849"/>
                  <a:gd name="T117" fmla="*/ 0 h 875"/>
                  <a:gd name="T118" fmla="*/ 0 w 1849"/>
                  <a:gd name="T119" fmla="*/ 0 h 875"/>
                  <a:gd name="T120" fmla="*/ 0 w 1849"/>
                  <a:gd name="T121" fmla="*/ 0 h 875"/>
                  <a:gd name="T122" fmla="*/ 0 w 1849"/>
                  <a:gd name="T123" fmla="*/ 0 h 8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49"/>
                  <a:gd name="T187" fmla="*/ 0 h 875"/>
                  <a:gd name="T188" fmla="*/ 1849 w 1849"/>
                  <a:gd name="T189" fmla="*/ 875 h 8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49" h="875">
                    <a:moveTo>
                      <a:pt x="1112" y="0"/>
                    </a:moveTo>
                    <a:lnTo>
                      <a:pt x="1128" y="2"/>
                    </a:lnTo>
                    <a:lnTo>
                      <a:pt x="1143" y="7"/>
                    </a:lnTo>
                    <a:lnTo>
                      <a:pt x="1158" y="16"/>
                    </a:lnTo>
                    <a:lnTo>
                      <a:pt x="1260" y="102"/>
                    </a:lnTo>
                    <a:lnTo>
                      <a:pt x="1696" y="276"/>
                    </a:lnTo>
                    <a:lnTo>
                      <a:pt x="1716" y="287"/>
                    </a:lnTo>
                    <a:lnTo>
                      <a:pt x="1733" y="303"/>
                    </a:lnTo>
                    <a:lnTo>
                      <a:pt x="1748" y="324"/>
                    </a:lnTo>
                    <a:lnTo>
                      <a:pt x="1762" y="350"/>
                    </a:lnTo>
                    <a:lnTo>
                      <a:pt x="1775" y="379"/>
                    </a:lnTo>
                    <a:lnTo>
                      <a:pt x="1786" y="412"/>
                    </a:lnTo>
                    <a:lnTo>
                      <a:pt x="1796" y="446"/>
                    </a:lnTo>
                    <a:lnTo>
                      <a:pt x="1804" y="483"/>
                    </a:lnTo>
                    <a:lnTo>
                      <a:pt x="1811" y="521"/>
                    </a:lnTo>
                    <a:lnTo>
                      <a:pt x="1818" y="560"/>
                    </a:lnTo>
                    <a:lnTo>
                      <a:pt x="1823" y="598"/>
                    </a:lnTo>
                    <a:lnTo>
                      <a:pt x="1828" y="637"/>
                    </a:lnTo>
                    <a:lnTo>
                      <a:pt x="1832" y="675"/>
                    </a:lnTo>
                    <a:lnTo>
                      <a:pt x="1835" y="712"/>
                    </a:lnTo>
                    <a:lnTo>
                      <a:pt x="1838" y="745"/>
                    </a:lnTo>
                    <a:lnTo>
                      <a:pt x="1840" y="778"/>
                    </a:lnTo>
                    <a:lnTo>
                      <a:pt x="1842" y="805"/>
                    </a:lnTo>
                    <a:lnTo>
                      <a:pt x="1844" y="830"/>
                    </a:lnTo>
                    <a:lnTo>
                      <a:pt x="1846" y="850"/>
                    </a:lnTo>
                    <a:lnTo>
                      <a:pt x="1847" y="865"/>
                    </a:lnTo>
                    <a:lnTo>
                      <a:pt x="1849" y="875"/>
                    </a:lnTo>
                    <a:lnTo>
                      <a:pt x="0" y="875"/>
                    </a:lnTo>
                    <a:lnTo>
                      <a:pt x="2" y="865"/>
                    </a:lnTo>
                    <a:lnTo>
                      <a:pt x="3" y="850"/>
                    </a:lnTo>
                    <a:lnTo>
                      <a:pt x="5" y="830"/>
                    </a:lnTo>
                    <a:lnTo>
                      <a:pt x="6" y="805"/>
                    </a:lnTo>
                    <a:lnTo>
                      <a:pt x="8" y="777"/>
                    </a:lnTo>
                    <a:lnTo>
                      <a:pt x="11" y="745"/>
                    </a:lnTo>
                    <a:lnTo>
                      <a:pt x="14" y="712"/>
                    </a:lnTo>
                    <a:lnTo>
                      <a:pt x="17" y="675"/>
                    </a:lnTo>
                    <a:lnTo>
                      <a:pt x="21" y="637"/>
                    </a:lnTo>
                    <a:lnTo>
                      <a:pt x="25" y="598"/>
                    </a:lnTo>
                    <a:lnTo>
                      <a:pt x="30" y="560"/>
                    </a:lnTo>
                    <a:lnTo>
                      <a:pt x="37" y="521"/>
                    </a:lnTo>
                    <a:lnTo>
                      <a:pt x="44" y="483"/>
                    </a:lnTo>
                    <a:lnTo>
                      <a:pt x="54" y="446"/>
                    </a:lnTo>
                    <a:lnTo>
                      <a:pt x="63" y="412"/>
                    </a:lnTo>
                    <a:lnTo>
                      <a:pt x="74" y="379"/>
                    </a:lnTo>
                    <a:lnTo>
                      <a:pt x="86" y="350"/>
                    </a:lnTo>
                    <a:lnTo>
                      <a:pt x="101" y="324"/>
                    </a:lnTo>
                    <a:lnTo>
                      <a:pt x="116" y="303"/>
                    </a:lnTo>
                    <a:lnTo>
                      <a:pt x="133" y="287"/>
                    </a:lnTo>
                    <a:lnTo>
                      <a:pt x="152" y="276"/>
                    </a:lnTo>
                    <a:lnTo>
                      <a:pt x="588" y="102"/>
                    </a:lnTo>
                    <a:lnTo>
                      <a:pt x="690" y="16"/>
                    </a:lnTo>
                    <a:lnTo>
                      <a:pt x="705" y="7"/>
                    </a:lnTo>
                    <a:lnTo>
                      <a:pt x="720" y="2"/>
                    </a:lnTo>
                    <a:lnTo>
                      <a:pt x="737" y="0"/>
                    </a:lnTo>
                    <a:lnTo>
                      <a:pt x="753" y="3"/>
                    </a:lnTo>
                    <a:lnTo>
                      <a:pt x="769" y="9"/>
                    </a:lnTo>
                    <a:lnTo>
                      <a:pt x="782" y="20"/>
                    </a:lnTo>
                    <a:lnTo>
                      <a:pt x="924" y="161"/>
                    </a:lnTo>
                    <a:lnTo>
                      <a:pt x="1067" y="20"/>
                    </a:lnTo>
                    <a:lnTo>
                      <a:pt x="1080" y="9"/>
                    </a:lnTo>
                    <a:lnTo>
                      <a:pt x="1095" y="3"/>
                    </a:lnTo>
                    <a:lnTo>
                      <a:pt x="111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</p:grpSp>
        <p:sp>
          <p:nvSpPr>
            <p:cNvPr id="13331" name="Freeform 63"/>
            <p:cNvSpPr>
              <a:spLocks noChangeAspect="1" noEditPoints="1"/>
            </p:cNvSpPr>
            <p:nvPr/>
          </p:nvSpPr>
          <p:spPr bwMode="auto">
            <a:xfrm>
              <a:off x="1568624" y="1675544"/>
              <a:ext cx="320235" cy="324309"/>
            </a:xfrm>
            <a:custGeom>
              <a:avLst/>
              <a:gdLst>
                <a:gd name="T0" fmla="*/ 2147483647 w 3929"/>
                <a:gd name="T1" fmla="*/ 2147483647 h 3980"/>
                <a:gd name="T2" fmla="*/ 2147483647 w 3929"/>
                <a:gd name="T3" fmla="*/ 2147483647 h 3980"/>
                <a:gd name="T4" fmla="*/ 2147483647 w 3929"/>
                <a:gd name="T5" fmla="*/ 2147483647 h 3980"/>
                <a:gd name="T6" fmla="*/ 2147483647 w 3929"/>
                <a:gd name="T7" fmla="*/ 2147483647 h 3980"/>
                <a:gd name="T8" fmla="*/ 2147483647 w 3929"/>
                <a:gd name="T9" fmla="*/ 2147483647 h 3980"/>
                <a:gd name="T10" fmla="*/ 2147483647 w 3929"/>
                <a:gd name="T11" fmla="*/ 2147483647 h 3980"/>
                <a:gd name="T12" fmla="*/ 2147483647 w 3929"/>
                <a:gd name="T13" fmla="*/ 2147483647 h 3980"/>
                <a:gd name="T14" fmla="*/ 2147483647 w 3929"/>
                <a:gd name="T15" fmla="*/ 2147483647 h 3980"/>
                <a:gd name="T16" fmla="*/ 2147483647 w 3929"/>
                <a:gd name="T17" fmla="*/ 2147483647 h 3980"/>
                <a:gd name="T18" fmla="*/ 2147483647 w 3929"/>
                <a:gd name="T19" fmla="*/ 2147483647 h 3980"/>
                <a:gd name="T20" fmla="*/ 2147483647 w 3929"/>
                <a:gd name="T21" fmla="*/ 2147483647 h 3980"/>
                <a:gd name="T22" fmla="*/ 2147483647 w 3929"/>
                <a:gd name="T23" fmla="*/ 2147483647 h 3980"/>
                <a:gd name="T24" fmla="*/ 2147483647 w 3929"/>
                <a:gd name="T25" fmla="*/ 2147483647 h 3980"/>
                <a:gd name="T26" fmla="*/ 2147483647 w 3929"/>
                <a:gd name="T27" fmla="*/ 2147483647 h 3980"/>
                <a:gd name="T28" fmla="*/ 2147483647 w 3929"/>
                <a:gd name="T29" fmla="*/ 2147483647 h 3980"/>
                <a:gd name="T30" fmla="*/ 2147483647 w 3929"/>
                <a:gd name="T31" fmla="*/ 2147483647 h 3980"/>
                <a:gd name="T32" fmla="*/ 2147483647 w 3929"/>
                <a:gd name="T33" fmla="*/ 2147483647 h 3980"/>
                <a:gd name="T34" fmla="*/ 2147483647 w 3929"/>
                <a:gd name="T35" fmla="*/ 2147483647 h 3980"/>
                <a:gd name="T36" fmla="*/ 2147483647 w 3929"/>
                <a:gd name="T37" fmla="*/ 2147483647 h 3980"/>
                <a:gd name="T38" fmla="*/ 2147483647 w 3929"/>
                <a:gd name="T39" fmla="*/ 2147483647 h 3980"/>
                <a:gd name="T40" fmla="*/ 2147483647 w 3929"/>
                <a:gd name="T41" fmla="*/ 2147483647 h 3980"/>
                <a:gd name="T42" fmla="*/ 2147483647 w 3929"/>
                <a:gd name="T43" fmla="*/ 2147483647 h 3980"/>
                <a:gd name="T44" fmla="*/ 2147483647 w 3929"/>
                <a:gd name="T45" fmla="*/ 2147483647 h 3980"/>
                <a:gd name="T46" fmla="*/ 2147483647 w 3929"/>
                <a:gd name="T47" fmla="*/ 2147483647 h 3980"/>
                <a:gd name="T48" fmla="*/ 2147483647 w 3929"/>
                <a:gd name="T49" fmla="*/ 2147483647 h 3980"/>
                <a:gd name="T50" fmla="*/ 2147483647 w 3929"/>
                <a:gd name="T51" fmla="*/ 2147483647 h 3980"/>
                <a:gd name="T52" fmla="*/ 2147483647 w 3929"/>
                <a:gd name="T53" fmla="*/ 2147483647 h 3980"/>
                <a:gd name="T54" fmla="*/ 2147483647 w 3929"/>
                <a:gd name="T55" fmla="*/ 2147483647 h 3980"/>
                <a:gd name="T56" fmla="*/ 2147483647 w 3929"/>
                <a:gd name="T57" fmla="*/ 2147483647 h 3980"/>
                <a:gd name="T58" fmla="*/ 2147483647 w 3929"/>
                <a:gd name="T59" fmla="*/ 2147483647 h 3980"/>
                <a:gd name="T60" fmla="*/ 2147483647 w 3929"/>
                <a:gd name="T61" fmla="*/ 2147483647 h 3980"/>
                <a:gd name="T62" fmla="*/ 2147483647 w 3929"/>
                <a:gd name="T63" fmla="*/ 2147483647 h 3980"/>
                <a:gd name="T64" fmla="*/ 2147483647 w 3929"/>
                <a:gd name="T65" fmla="*/ 2147483647 h 3980"/>
                <a:gd name="T66" fmla="*/ 2147483647 w 3929"/>
                <a:gd name="T67" fmla="*/ 2147483647 h 3980"/>
                <a:gd name="T68" fmla="*/ 2147483647 w 3929"/>
                <a:gd name="T69" fmla="*/ 2147483647 h 3980"/>
                <a:gd name="T70" fmla="*/ 2147483647 w 3929"/>
                <a:gd name="T71" fmla="*/ 2147483647 h 3980"/>
                <a:gd name="T72" fmla="*/ 2147483647 w 3929"/>
                <a:gd name="T73" fmla="*/ 2147483647 h 3980"/>
                <a:gd name="T74" fmla="*/ 2147483647 w 3929"/>
                <a:gd name="T75" fmla="*/ 2147483647 h 3980"/>
                <a:gd name="T76" fmla="*/ 2147483647 w 3929"/>
                <a:gd name="T77" fmla="*/ 2147483647 h 3980"/>
                <a:gd name="T78" fmla="*/ 2147483647 w 3929"/>
                <a:gd name="T79" fmla="*/ 2147483647 h 3980"/>
                <a:gd name="T80" fmla="*/ 2147483647 w 3929"/>
                <a:gd name="T81" fmla="*/ 2147483647 h 3980"/>
                <a:gd name="T82" fmla="*/ 2147483647 w 3929"/>
                <a:gd name="T83" fmla="*/ 2147483647 h 3980"/>
                <a:gd name="T84" fmla="*/ 2147483647 w 3929"/>
                <a:gd name="T85" fmla="*/ 2147483647 h 3980"/>
                <a:gd name="T86" fmla="*/ 2147483647 w 3929"/>
                <a:gd name="T87" fmla="*/ 2147483647 h 3980"/>
                <a:gd name="T88" fmla="*/ 2147483647 w 3929"/>
                <a:gd name="T89" fmla="*/ 2147483647 h 3980"/>
                <a:gd name="T90" fmla="*/ 2147483647 w 3929"/>
                <a:gd name="T91" fmla="*/ 2147483647 h 3980"/>
                <a:gd name="T92" fmla="*/ 2147483647 w 3929"/>
                <a:gd name="T93" fmla="*/ 2147483647 h 3980"/>
                <a:gd name="T94" fmla="*/ 2147483647 w 3929"/>
                <a:gd name="T95" fmla="*/ 2147483647 h 3980"/>
                <a:gd name="T96" fmla="*/ 2147483647 w 3929"/>
                <a:gd name="T97" fmla="*/ 2147483647 h 3980"/>
                <a:gd name="T98" fmla="*/ 2147483647 w 3929"/>
                <a:gd name="T99" fmla="*/ 2147483647 h 3980"/>
                <a:gd name="T100" fmla="*/ 2147483647 w 3929"/>
                <a:gd name="T101" fmla="*/ 2147483647 h 3980"/>
                <a:gd name="T102" fmla="*/ 2147483647 w 3929"/>
                <a:gd name="T103" fmla="*/ 2147483647 h 3980"/>
                <a:gd name="T104" fmla="*/ 2147483647 w 3929"/>
                <a:gd name="T105" fmla="*/ 2147483647 h 3980"/>
                <a:gd name="T106" fmla="*/ 2147483647 w 3929"/>
                <a:gd name="T107" fmla="*/ 2147483647 h 3980"/>
                <a:gd name="T108" fmla="*/ 2147483647 w 3929"/>
                <a:gd name="T109" fmla="*/ 2147483647 h 3980"/>
                <a:gd name="T110" fmla="*/ 2147483647 w 3929"/>
                <a:gd name="T111" fmla="*/ 2147483647 h 3980"/>
                <a:gd name="T112" fmla="*/ 2147483647 w 3929"/>
                <a:gd name="T113" fmla="*/ 2147483647 h 3980"/>
                <a:gd name="T114" fmla="*/ 2147483647 w 3929"/>
                <a:gd name="T115" fmla="*/ 2147483647 h 3980"/>
                <a:gd name="T116" fmla="*/ 2147483647 w 3929"/>
                <a:gd name="T117" fmla="*/ 2147483647 h 3980"/>
                <a:gd name="T118" fmla="*/ 2147483647 w 3929"/>
                <a:gd name="T119" fmla="*/ 2147483647 h 3980"/>
                <a:gd name="T120" fmla="*/ 2147483647 w 3929"/>
                <a:gd name="T121" fmla="*/ 2147483647 h 3980"/>
                <a:gd name="T122" fmla="*/ 2147483647 w 3929"/>
                <a:gd name="T123" fmla="*/ 2147483647 h 39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29"/>
                <a:gd name="T187" fmla="*/ 0 h 3980"/>
                <a:gd name="T188" fmla="*/ 3929 w 3929"/>
                <a:gd name="T189" fmla="*/ 3980 h 39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29" h="3980">
                  <a:moveTo>
                    <a:pt x="2009" y="1404"/>
                  </a:moveTo>
                  <a:lnTo>
                    <a:pt x="1963" y="1407"/>
                  </a:lnTo>
                  <a:lnTo>
                    <a:pt x="1919" y="1414"/>
                  </a:lnTo>
                  <a:lnTo>
                    <a:pt x="1878" y="1426"/>
                  </a:lnTo>
                  <a:lnTo>
                    <a:pt x="1839" y="1444"/>
                  </a:lnTo>
                  <a:lnTo>
                    <a:pt x="1801" y="1466"/>
                  </a:lnTo>
                  <a:lnTo>
                    <a:pt x="1753" y="1501"/>
                  </a:lnTo>
                  <a:lnTo>
                    <a:pt x="1709" y="1543"/>
                  </a:lnTo>
                  <a:lnTo>
                    <a:pt x="1669" y="1588"/>
                  </a:lnTo>
                  <a:lnTo>
                    <a:pt x="1632" y="1639"/>
                  </a:lnTo>
                  <a:lnTo>
                    <a:pt x="1598" y="1694"/>
                  </a:lnTo>
                  <a:lnTo>
                    <a:pt x="1569" y="1754"/>
                  </a:lnTo>
                  <a:lnTo>
                    <a:pt x="1544" y="1817"/>
                  </a:lnTo>
                  <a:lnTo>
                    <a:pt x="1523" y="1883"/>
                  </a:lnTo>
                  <a:lnTo>
                    <a:pt x="1506" y="1952"/>
                  </a:lnTo>
                  <a:lnTo>
                    <a:pt x="1494" y="2020"/>
                  </a:lnTo>
                  <a:lnTo>
                    <a:pt x="1487" y="2088"/>
                  </a:lnTo>
                  <a:lnTo>
                    <a:pt x="1485" y="2155"/>
                  </a:lnTo>
                  <a:lnTo>
                    <a:pt x="1487" y="2200"/>
                  </a:lnTo>
                  <a:lnTo>
                    <a:pt x="1493" y="2246"/>
                  </a:lnTo>
                  <a:lnTo>
                    <a:pt x="1501" y="2296"/>
                  </a:lnTo>
                  <a:lnTo>
                    <a:pt x="1512" y="2344"/>
                  </a:lnTo>
                  <a:lnTo>
                    <a:pt x="1529" y="2392"/>
                  </a:lnTo>
                  <a:lnTo>
                    <a:pt x="1551" y="2438"/>
                  </a:lnTo>
                  <a:lnTo>
                    <a:pt x="1571" y="2467"/>
                  </a:lnTo>
                  <a:lnTo>
                    <a:pt x="1592" y="2493"/>
                  </a:lnTo>
                  <a:lnTo>
                    <a:pt x="1618" y="2516"/>
                  </a:lnTo>
                  <a:lnTo>
                    <a:pt x="1644" y="2537"/>
                  </a:lnTo>
                  <a:lnTo>
                    <a:pt x="1674" y="2552"/>
                  </a:lnTo>
                  <a:lnTo>
                    <a:pt x="1707" y="2563"/>
                  </a:lnTo>
                  <a:lnTo>
                    <a:pt x="1746" y="2570"/>
                  </a:lnTo>
                  <a:lnTo>
                    <a:pt x="1789" y="2573"/>
                  </a:lnTo>
                  <a:lnTo>
                    <a:pt x="1836" y="2570"/>
                  </a:lnTo>
                  <a:lnTo>
                    <a:pt x="1878" y="2565"/>
                  </a:lnTo>
                  <a:lnTo>
                    <a:pt x="1919" y="2555"/>
                  </a:lnTo>
                  <a:lnTo>
                    <a:pt x="1957" y="2542"/>
                  </a:lnTo>
                  <a:lnTo>
                    <a:pt x="1992" y="2526"/>
                  </a:lnTo>
                  <a:lnTo>
                    <a:pt x="2025" y="2505"/>
                  </a:lnTo>
                  <a:lnTo>
                    <a:pt x="2066" y="2474"/>
                  </a:lnTo>
                  <a:lnTo>
                    <a:pt x="2102" y="2441"/>
                  </a:lnTo>
                  <a:lnTo>
                    <a:pt x="2137" y="2404"/>
                  </a:lnTo>
                  <a:lnTo>
                    <a:pt x="2167" y="2365"/>
                  </a:lnTo>
                  <a:lnTo>
                    <a:pt x="2196" y="2322"/>
                  </a:lnTo>
                  <a:lnTo>
                    <a:pt x="2226" y="2263"/>
                  </a:lnTo>
                  <a:lnTo>
                    <a:pt x="2253" y="2202"/>
                  </a:lnTo>
                  <a:lnTo>
                    <a:pt x="2276" y="2139"/>
                  </a:lnTo>
                  <a:lnTo>
                    <a:pt x="2295" y="2076"/>
                  </a:lnTo>
                  <a:lnTo>
                    <a:pt x="2309" y="2009"/>
                  </a:lnTo>
                  <a:lnTo>
                    <a:pt x="2319" y="1945"/>
                  </a:lnTo>
                  <a:lnTo>
                    <a:pt x="2327" y="1883"/>
                  </a:lnTo>
                  <a:lnTo>
                    <a:pt x="2329" y="1822"/>
                  </a:lnTo>
                  <a:lnTo>
                    <a:pt x="2328" y="1766"/>
                  </a:lnTo>
                  <a:lnTo>
                    <a:pt x="2322" y="1710"/>
                  </a:lnTo>
                  <a:lnTo>
                    <a:pt x="2311" y="1655"/>
                  </a:lnTo>
                  <a:lnTo>
                    <a:pt x="2301" y="1619"/>
                  </a:lnTo>
                  <a:lnTo>
                    <a:pt x="2289" y="1586"/>
                  </a:lnTo>
                  <a:lnTo>
                    <a:pt x="2274" y="1554"/>
                  </a:lnTo>
                  <a:lnTo>
                    <a:pt x="2256" y="1523"/>
                  </a:lnTo>
                  <a:lnTo>
                    <a:pt x="2237" y="1499"/>
                  </a:lnTo>
                  <a:lnTo>
                    <a:pt x="2215" y="1475"/>
                  </a:lnTo>
                  <a:lnTo>
                    <a:pt x="2191" y="1455"/>
                  </a:lnTo>
                  <a:lnTo>
                    <a:pt x="2164" y="1437"/>
                  </a:lnTo>
                  <a:lnTo>
                    <a:pt x="2132" y="1423"/>
                  </a:lnTo>
                  <a:lnTo>
                    <a:pt x="2096" y="1413"/>
                  </a:lnTo>
                  <a:lnTo>
                    <a:pt x="2055" y="1407"/>
                  </a:lnTo>
                  <a:lnTo>
                    <a:pt x="2009" y="1404"/>
                  </a:lnTo>
                  <a:close/>
                  <a:moveTo>
                    <a:pt x="2035" y="0"/>
                  </a:moveTo>
                  <a:lnTo>
                    <a:pt x="2035" y="0"/>
                  </a:lnTo>
                  <a:lnTo>
                    <a:pt x="2155" y="3"/>
                  </a:lnTo>
                  <a:lnTo>
                    <a:pt x="2273" y="11"/>
                  </a:lnTo>
                  <a:lnTo>
                    <a:pt x="2390" y="27"/>
                  </a:lnTo>
                  <a:lnTo>
                    <a:pt x="2505" y="48"/>
                  </a:lnTo>
                  <a:lnTo>
                    <a:pt x="2620" y="76"/>
                  </a:lnTo>
                  <a:lnTo>
                    <a:pt x="2733" y="112"/>
                  </a:lnTo>
                  <a:lnTo>
                    <a:pt x="2829" y="145"/>
                  </a:lnTo>
                  <a:lnTo>
                    <a:pt x="2922" y="183"/>
                  </a:lnTo>
                  <a:lnTo>
                    <a:pt x="3012" y="225"/>
                  </a:lnTo>
                  <a:lnTo>
                    <a:pt x="3099" y="271"/>
                  </a:lnTo>
                  <a:lnTo>
                    <a:pt x="3184" y="322"/>
                  </a:lnTo>
                  <a:lnTo>
                    <a:pt x="3264" y="376"/>
                  </a:lnTo>
                  <a:lnTo>
                    <a:pt x="3342" y="436"/>
                  </a:lnTo>
                  <a:lnTo>
                    <a:pt x="3416" y="500"/>
                  </a:lnTo>
                  <a:lnTo>
                    <a:pt x="3486" y="568"/>
                  </a:lnTo>
                  <a:lnTo>
                    <a:pt x="3552" y="642"/>
                  </a:lnTo>
                  <a:lnTo>
                    <a:pt x="3613" y="719"/>
                  </a:lnTo>
                  <a:lnTo>
                    <a:pt x="3670" y="802"/>
                  </a:lnTo>
                  <a:lnTo>
                    <a:pt x="3722" y="888"/>
                  </a:lnTo>
                  <a:lnTo>
                    <a:pt x="3770" y="978"/>
                  </a:lnTo>
                  <a:lnTo>
                    <a:pt x="3807" y="1061"/>
                  </a:lnTo>
                  <a:lnTo>
                    <a:pt x="3840" y="1147"/>
                  </a:lnTo>
                  <a:lnTo>
                    <a:pt x="3867" y="1237"/>
                  </a:lnTo>
                  <a:lnTo>
                    <a:pt x="3889" y="1331"/>
                  </a:lnTo>
                  <a:lnTo>
                    <a:pt x="3907" y="1428"/>
                  </a:lnTo>
                  <a:lnTo>
                    <a:pt x="3920" y="1528"/>
                  </a:lnTo>
                  <a:lnTo>
                    <a:pt x="3927" y="1631"/>
                  </a:lnTo>
                  <a:lnTo>
                    <a:pt x="3929" y="1738"/>
                  </a:lnTo>
                  <a:lnTo>
                    <a:pt x="3927" y="1842"/>
                  </a:lnTo>
                  <a:lnTo>
                    <a:pt x="3921" y="1943"/>
                  </a:lnTo>
                  <a:lnTo>
                    <a:pt x="3909" y="2041"/>
                  </a:lnTo>
                  <a:lnTo>
                    <a:pt x="3891" y="2134"/>
                  </a:lnTo>
                  <a:lnTo>
                    <a:pt x="3869" y="2224"/>
                  </a:lnTo>
                  <a:lnTo>
                    <a:pt x="3844" y="2310"/>
                  </a:lnTo>
                  <a:lnTo>
                    <a:pt x="3813" y="2391"/>
                  </a:lnTo>
                  <a:lnTo>
                    <a:pt x="3779" y="2468"/>
                  </a:lnTo>
                  <a:lnTo>
                    <a:pt x="3741" y="2541"/>
                  </a:lnTo>
                  <a:lnTo>
                    <a:pt x="3700" y="2608"/>
                  </a:lnTo>
                  <a:lnTo>
                    <a:pt x="3656" y="2673"/>
                  </a:lnTo>
                  <a:lnTo>
                    <a:pt x="3610" y="2733"/>
                  </a:lnTo>
                  <a:lnTo>
                    <a:pt x="3558" y="2789"/>
                  </a:lnTo>
                  <a:lnTo>
                    <a:pt x="3504" y="2839"/>
                  </a:lnTo>
                  <a:lnTo>
                    <a:pt x="3447" y="2886"/>
                  </a:lnTo>
                  <a:lnTo>
                    <a:pt x="3388" y="2927"/>
                  </a:lnTo>
                  <a:lnTo>
                    <a:pt x="3326" y="2964"/>
                  </a:lnTo>
                  <a:lnTo>
                    <a:pt x="3261" y="2996"/>
                  </a:lnTo>
                  <a:lnTo>
                    <a:pt x="3181" y="3027"/>
                  </a:lnTo>
                  <a:lnTo>
                    <a:pt x="3099" y="3051"/>
                  </a:lnTo>
                  <a:lnTo>
                    <a:pt x="3016" y="3068"/>
                  </a:lnTo>
                  <a:lnTo>
                    <a:pt x="2931" y="3079"/>
                  </a:lnTo>
                  <a:lnTo>
                    <a:pt x="2844" y="3082"/>
                  </a:lnTo>
                  <a:lnTo>
                    <a:pt x="2778" y="3081"/>
                  </a:lnTo>
                  <a:lnTo>
                    <a:pt x="2717" y="3073"/>
                  </a:lnTo>
                  <a:lnTo>
                    <a:pt x="2658" y="3062"/>
                  </a:lnTo>
                  <a:lnTo>
                    <a:pt x="2606" y="3046"/>
                  </a:lnTo>
                  <a:lnTo>
                    <a:pt x="2557" y="3025"/>
                  </a:lnTo>
                  <a:lnTo>
                    <a:pt x="2511" y="3001"/>
                  </a:lnTo>
                  <a:lnTo>
                    <a:pt x="2471" y="2971"/>
                  </a:lnTo>
                  <a:lnTo>
                    <a:pt x="2436" y="2938"/>
                  </a:lnTo>
                  <a:lnTo>
                    <a:pt x="2402" y="2903"/>
                  </a:lnTo>
                  <a:lnTo>
                    <a:pt x="2376" y="2866"/>
                  </a:lnTo>
                  <a:lnTo>
                    <a:pt x="2352" y="2825"/>
                  </a:lnTo>
                  <a:lnTo>
                    <a:pt x="2314" y="2862"/>
                  </a:lnTo>
                  <a:lnTo>
                    <a:pt x="2270" y="2898"/>
                  </a:lnTo>
                  <a:lnTo>
                    <a:pt x="2224" y="2932"/>
                  </a:lnTo>
                  <a:lnTo>
                    <a:pt x="2177" y="2962"/>
                  </a:lnTo>
                  <a:lnTo>
                    <a:pt x="2126" y="2990"/>
                  </a:lnTo>
                  <a:lnTo>
                    <a:pt x="2072" y="3014"/>
                  </a:lnTo>
                  <a:lnTo>
                    <a:pt x="2016" y="3038"/>
                  </a:lnTo>
                  <a:lnTo>
                    <a:pt x="1954" y="3057"/>
                  </a:lnTo>
                  <a:lnTo>
                    <a:pt x="1889" y="3071"/>
                  </a:lnTo>
                  <a:lnTo>
                    <a:pt x="1821" y="3079"/>
                  </a:lnTo>
                  <a:lnTo>
                    <a:pt x="1751" y="3082"/>
                  </a:lnTo>
                  <a:lnTo>
                    <a:pt x="1675" y="3079"/>
                  </a:lnTo>
                  <a:lnTo>
                    <a:pt x="1602" y="3071"/>
                  </a:lnTo>
                  <a:lnTo>
                    <a:pt x="1531" y="3055"/>
                  </a:lnTo>
                  <a:lnTo>
                    <a:pt x="1463" y="3035"/>
                  </a:lnTo>
                  <a:lnTo>
                    <a:pt x="1398" y="3008"/>
                  </a:lnTo>
                  <a:lnTo>
                    <a:pt x="1337" y="2978"/>
                  </a:lnTo>
                  <a:lnTo>
                    <a:pt x="1280" y="2942"/>
                  </a:lnTo>
                  <a:lnTo>
                    <a:pt x="1226" y="2902"/>
                  </a:lnTo>
                  <a:lnTo>
                    <a:pt x="1177" y="2857"/>
                  </a:lnTo>
                  <a:lnTo>
                    <a:pt x="1133" y="2809"/>
                  </a:lnTo>
                  <a:lnTo>
                    <a:pt x="1092" y="2758"/>
                  </a:lnTo>
                  <a:lnTo>
                    <a:pt x="1056" y="2701"/>
                  </a:lnTo>
                  <a:lnTo>
                    <a:pt x="1024" y="2643"/>
                  </a:lnTo>
                  <a:lnTo>
                    <a:pt x="994" y="2579"/>
                  </a:lnTo>
                  <a:lnTo>
                    <a:pt x="970" y="2511"/>
                  </a:lnTo>
                  <a:lnTo>
                    <a:pt x="950" y="2443"/>
                  </a:lnTo>
                  <a:lnTo>
                    <a:pt x="936" y="2371"/>
                  </a:lnTo>
                  <a:lnTo>
                    <a:pt x="924" y="2296"/>
                  </a:lnTo>
                  <a:lnTo>
                    <a:pt x="917" y="2220"/>
                  </a:lnTo>
                  <a:lnTo>
                    <a:pt x="915" y="2143"/>
                  </a:lnTo>
                  <a:lnTo>
                    <a:pt x="918" y="2051"/>
                  </a:lnTo>
                  <a:lnTo>
                    <a:pt x="927" y="1959"/>
                  </a:lnTo>
                  <a:lnTo>
                    <a:pt x="943" y="1869"/>
                  </a:lnTo>
                  <a:lnTo>
                    <a:pt x="964" y="1779"/>
                  </a:lnTo>
                  <a:lnTo>
                    <a:pt x="992" y="1690"/>
                  </a:lnTo>
                  <a:lnTo>
                    <a:pt x="1018" y="1621"/>
                  </a:lnTo>
                  <a:lnTo>
                    <a:pt x="1047" y="1555"/>
                  </a:lnTo>
                  <a:lnTo>
                    <a:pt x="1081" y="1490"/>
                  </a:lnTo>
                  <a:lnTo>
                    <a:pt x="1118" y="1426"/>
                  </a:lnTo>
                  <a:lnTo>
                    <a:pt x="1158" y="1366"/>
                  </a:lnTo>
                  <a:lnTo>
                    <a:pt x="1202" y="1309"/>
                  </a:lnTo>
                  <a:lnTo>
                    <a:pt x="1228" y="1279"/>
                  </a:lnTo>
                  <a:lnTo>
                    <a:pt x="1254" y="1251"/>
                  </a:lnTo>
                  <a:lnTo>
                    <a:pt x="1310" y="1194"/>
                  </a:lnTo>
                  <a:lnTo>
                    <a:pt x="1369" y="1140"/>
                  </a:lnTo>
                  <a:lnTo>
                    <a:pt x="1433" y="1093"/>
                  </a:lnTo>
                  <a:lnTo>
                    <a:pt x="1499" y="1048"/>
                  </a:lnTo>
                  <a:lnTo>
                    <a:pt x="1567" y="1010"/>
                  </a:lnTo>
                  <a:lnTo>
                    <a:pt x="1640" y="977"/>
                  </a:lnTo>
                  <a:lnTo>
                    <a:pt x="1714" y="951"/>
                  </a:lnTo>
                  <a:lnTo>
                    <a:pt x="1790" y="932"/>
                  </a:lnTo>
                  <a:lnTo>
                    <a:pt x="1869" y="919"/>
                  </a:lnTo>
                  <a:lnTo>
                    <a:pt x="1948" y="915"/>
                  </a:lnTo>
                  <a:lnTo>
                    <a:pt x="1990" y="915"/>
                  </a:lnTo>
                  <a:lnTo>
                    <a:pt x="2033" y="916"/>
                  </a:lnTo>
                  <a:lnTo>
                    <a:pt x="2077" y="921"/>
                  </a:lnTo>
                  <a:lnTo>
                    <a:pt x="2120" y="927"/>
                  </a:lnTo>
                  <a:lnTo>
                    <a:pt x="2162" y="935"/>
                  </a:lnTo>
                  <a:lnTo>
                    <a:pt x="2205" y="946"/>
                  </a:lnTo>
                  <a:lnTo>
                    <a:pt x="2247" y="961"/>
                  </a:lnTo>
                  <a:lnTo>
                    <a:pt x="2286" y="977"/>
                  </a:lnTo>
                  <a:lnTo>
                    <a:pt x="2324" y="998"/>
                  </a:lnTo>
                  <a:lnTo>
                    <a:pt x="2358" y="1020"/>
                  </a:lnTo>
                  <a:lnTo>
                    <a:pt x="2391" y="1047"/>
                  </a:lnTo>
                  <a:lnTo>
                    <a:pt x="2421" y="1077"/>
                  </a:lnTo>
                  <a:lnTo>
                    <a:pt x="2445" y="1111"/>
                  </a:lnTo>
                  <a:lnTo>
                    <a:pt x="2466" y="1148"/>
                  </a:lnTo>
                  <a:lnTo>
                    <a:pt x="2483" y="1189"/>
                  </a:lnTo>
                  <a:lnTo>
                    <a:pt x="2484" y="1187"/>
                  </a:lnTo>
                  <a:lnTo>
                    <a:pt x="2486" y="1180"/>
                  </a:lnTo>
                  <a:lnTo>
                    <a:pt x="2489" y="1169"/>
                  </a:lnTo>
                  <a:lnTo>
                    <a:pt x="2493" y="1155"/>
                  </a:lnTo>
                  <a:lnTo>
                    <a:pt x="2498" y="1138"/>
                  </a:lnTo>
                  <a:lnTo>
                    <a:pt x="2503" y="1120"/>
                  </a:lnTo>
                  <a:lnTo>
                    <a:pt x="2515" y="1085"/>
                  </a:lnTo>
                  <a:lnTo>
                    <a:pt x="2533" y="1054"/>
                  </a:lnTo>
                  <a:lnTo>
                    <a:pt x="2558" y="1029"/>
                  </a:lnTo>
                  <a:lnTo>
                    <a:pt x="2586" y="1008"/>
                  </a:lnTo>
                  <a:lnTo>
                    <a:pt x="2618" y="992"/>
                  </a:lnTo>
                  <a:lnTo>
                    <a:pt x="2652" y="981"/>
                  </a:lnTo>
                  <a:lnTo>
                    <a:pt x="2688" y="978"/>
                  </a:lnTo>
                  <a:lnTo>
                    <a:pt x="2829" y="978"/>
                  </a:lnTo>
                  <a:lnTo>
                    <a:pt x="2865" y="981"/>
                  </a:lnTo>
                  <a:lnTo>
                    <a:pt x="2898" y="991"/>
                  </a:lnTo>
                  <a:lnTo>
                    <a:pt x="2930" y="1007"/>
                  </a:lnTo>
                  <a:lnTo>
                    <a:pt x="2957" y="1026"/>
                  </a:lnTo>
                  <a:lnTo>
                    <a:pt x="2979" y="1051"/>
                  </a:lnTo>
                  <a:lnTo>
                    <a:pt x="2999" y="1079"/>
                  </a:lnTo>
                  <a:lnTo>
                    <a:pt x="3012" y="1110"/>
                  </a:lnTo>
                  <a:lnTo>
                    <a:pt x="3020" y="1143"/>
                  </a:lnTo>
                  <a:lnTo>
                    <a:pt x="3022" y="1177"/>
                  </a:lnTo>
                  <a:lnTo>
                    <a:pt x="3018" y="1212"/>
                  </a:lnTo>
                  <a:lnTo>
                    <a:pt x="2998" y="1306"/>
                  </a:lnTo>
                  <a:lnTo>
                    <a:pt x="2977" y="1401"/>
                  </a:lnTo>
                  <a:lnTo>
                    <a:pt x="2957" y="1495"/>
                  </a:lnTo>
                  <a:lnTo>
                    <a:pt x="2902" y="1750"/>
                  </a:lnTo>
                  <a:lnTo>
                    <a:pt x="2848" y="2008"/>
                  </a:lnTo>
                  <a:lnTo>
                    <a:pt x="2831" y="2087"/>
                  </a:lnTo>
                  <a:lnTo>
                    <a:pt x="2813" y="2165"/>
                  </a:lnTo>
                  <a:lnTo>
                    <a:pt x="2798" y="2245"/>
                  </a:lnTo>
                  <a:lnTo>
                    <a:pt x="2787" y="2326"/>
                  </a:lnTo>
                  <a:lnTo>
                    <a:pt x="2786" y="2347"/>
                  </a:lnTo>
                  <a:lnTo>
                    <a:pt x="2783" y="2369"/>
                  </a:lnTo>
                  <a:lnTo>
                    <a:pt x="2782" y="2393"/>
                  </a:lnTo>
                  <a:lnTo>
                    <a:pt x="2782" y="2418"/>
                  </a:lnTo>
                  <a:lnTo>
                    <a:pt x="2782" y="2443"/>
                  </a:lnTo>
                  <a:lnTo>
                    <a:pt x="2784" y="2467"/>
                  </a:lnTo>
                  <a:lnTo>
                    <a:pt x="2788" y="2490"/>
                  </a:lnTo>
                  <a:lnTo>
                    <a:pt x="2796" y="2512"/>
                  </a:lnTo>
                  <a:lnTo>
                    <a:pt x="2805" y="2532"/>
                  </a:lnTo>
                  <a:lnTo>
                    <a:pt x="2819" y="2548"/>
                  </a:lnTo>
                  <a:lnTo>
                    <a:pt x="2836" y="2563"/>
                  </a:lnTo>
                  <a:lnTo>
                    <a:pt x="2858" y="2573"/>
                  </a:lnTo>
                  <a:lnTo>
                    <a:pt x="2892" y="2580"/>
                  </a:lnTo>
                  <a:lnTo>
                    <a:pt x="2928" y="2582"/>
                  </a:lnTo>
                  <a:lnTo>
                    <a:pt x="2964" y="2580"/>
                  </a:lnTo>
                  <a:lnTo>
                    <a:pt x="3001" y="2573"/>
                  </a:lnTo>
                  <a:lnTo>
                    <a:pt x="3037" y="2560"/>
                  </a:lnTo>
                  <a:lnTo>
                    <a:pt x="3071" y="2546"/>
                  </a:lnTo>
                  <a:lnTo>
                    <a:pt x="3102" y="2527"/>
                  </a:lnTo>
                  <a:lnTo>
                    <a:pt x="3142" y="2495"/>
                  </a:lnTo>
                  <a:lnTo>
                    <a:pt x="3181" y="2458"/>
                  </a:lnTo>
                  <a:lnTo>
                    <a:pt x="3216" y="2416"/>
                  </a:lnTo>
                  <a:lnTo>
                    <a:pt x="3249" y="2368"/>
                  </a:lnTo>
                  <a:lnTo>
                    <a:pt x="3273" y="2322"/>
                  </a:lnTo>
                  <a:lnTo>
                    <a:pt x="3296" y="2274"/>
                  </a:lnTo>
                  <a:lnTo>
                    <a:pt x="3316" y="2222"/>
                  </a:lnTo>
                  <a:lnTo>
                    <a:pt x="3334" y="2165"/>
                  </a:lnTo>
                  <a:lnTo>
                    <a:pt x="3350" y="2107"/>
                  </a:lnTo>
                  <a:lnTo>
                    <a:pt x="3367" y="2026"/>
                  </a:lnTo>
                  <a:lnTo>
                    <a:pt x="3380" y="1944"/>
                  </a:lnTo>
                  <a:lnTo>
                    <a:pt x="3387" y="1858"/>
                  </a:lnTo>
                  <a:lnTo>
                    <a:pt x="3389" y="1770"/>
                  </a:lnTo>
                  <a:lnTo>
                    <a:pt x="3387" y="1684"/>
                  </a:lnTo>
                  <a:lnTo>
                    <a:pt x="3381" y="1601"/>
                  </a:lnTo>
                  <a:lnTo>
                    <a:pt x="3371" y="1521"/>
                  </a:lnTo>
                  <a:lnTo>
                    <a:pt x="3358" y="1444"/>
                  </a:lnTo>
                  <a:lnTo>
                    <a:pt x="3339" y="1370"/>
                  </a:lnTo>
                  <a:lnTo>
                    <a:pt x="3316" y="1299"/>
                  </a:lnTo>
                  <a:lnTo>
                    <a:pt x="3290" y="1231"/>
                  </a:lnTo>
                  <a:lnTo>
                    <a:pt x="3253" y="1156"/>
                  </a:lnTo>
                  <a:lnTo>
                    <a:pt x="3214" y="1086"/>
                  </a:lnTo>
                  <a:lnTo>
                    <a:pt x="3170" y="1019"/>
                  </a:lnTo>
                  <a:lnTo>
                    <a:pt x="3121" y="956"/>
                  </a:lnTo>
                  <a:lnTo>
                    <a:pt x="3069" y="899"/>
                  </a:lnTo>
                  <a:lnTo>
                    <a:pt x="3011" y="843"/>
                  </a:lnTo>
                  <a:lnTo>
                    <a:pt x="2950" y="793"/>
                  </a:lnTo>
                  <a:lnTo>
                    <a:pt x="2886" y="746"/>
                  </a:lnTo>
                  <a:lnTo>
                    <a:pt x="2818" y="705"/>
                  </a:lnTo>
                  <a:lnTo>
                    <a:pt x="2745" y="667"/>
                  </a:lnTo>
                  <a:lnTo>
                    <a:pt x="2668" y="634"/>
                  </a:lnTo>
                  <a:lnTo>
                    <a:pt x="2589" y="607"/>
                  </a:lnTo>
                  <a:lnTo>
                    <a:pt x="2504" y="582"/>
                  </a:lnTo>
                  <a:lnTo>
                    <a:pt x="2416" y="562"/>
                  </a:lnTo>
                  <a:lnTo>
                    <a:pt x="2325" y="546"/>
                  </a:lnTo>
                  <a:lnTo>
                    <a:pt x="2231" y="535"/>
                  </a:lnTo>
                  <a:lnTo>
                    <a:pt x="2134" y="528"/>
                  </a:lnTo>
                  <a:lnTo>
                    <a:pt x="2035" y="526"/>
                  </a:lnTo>
                  <a:lnTo>
                    <a:pt x="1929" y="529"/>
                  </a:lnTo>
                  <a:lnTo>
                    <a:pt x="1824" y="539"/>
                  </a:lnTo>
                  <a:lnTo>
                    <a:pt x="1724" y="554"/>
                  </a:lnTo>
                  <a:lnTo>
                    <a:pt x="1626" y="576"/>
                  </a:lnTo>
                  <a:lnTo>
                    <a:pt x="1533" y="604"/>
                  </a:lnTo>
                  <a:lnTo>
                    <a:pt x="1442" y="638"/>
                  </a:lnTo>
                  <a:lnTo>
                    <a:pt x="1357" y="678"/>
                  </a:lnTo>
                  <a:lnTo>
                    <a:pt x="1275" y="722"/>
                  </a:lnTo>
                  <a:lnTo>
                    <a:pt x="1196" y="772"/>
                  </a:lnTo>
                  <a:lnTo>
                    <a:pt x="1123" y="826"/>
                  </a:lnTo>
                  <a:lnTo>
                    <a:pt x="1053" y="885"/>
                  </a:lnTo>
                  <a:lnTo>
                    <a:pt x="988" y="949"/>
                  </a:lnTo>
                  <a:lnTo>
                    <a:pt x="936" y="1007"/>
                  </a:lnTo>
                  <a:lnTo>
                    <a:pt x="887" y="1067"/>
                  </a:lnTo>
                  <a:lnTo>
                    <a:pt x="841" y="1131"/>
                  </a:lnTo>
                  <a:lnTo>
                    <a:pt x="800" y="1198"/>
                  </a:lnTo>
                  <a:lnTo>
                    <a:pt x="760" y="1268"/>
                  </a:lnTo>
                  <a:lnTo>
                    <a:pt x="726" y="1342"/>
                  </a:lnTo>
                  <a:lnTo>
                    <a:pt x="694" y="1418"/>
                  </a:lnTo>
                  <a:lnTo>
                    <a:pt x="662" y="1509"/>
                  </a:lnTo>
                  <a:lnTo>
                    <a:pt x="636" y="1604"/>
                  </a:lnTo>
                  <a:lnTo>
                    <a:pt x="615" y="1702"/>
                  </a:lnTo>
                  <a:lnTo>
                    <a:pt x="600" y="1803"/>
                  </a:lnTo>
                  <a:lnTo>
                    <a:pt x="591" y="1906"/>
                  </a:lnTo>
                  <a:lnTo>
                    <a:pt x="589" y="2011"/>
                  </a:lnTo>
                  <a:lnTo>
                    <a:pt x="590" y="2106"/>
                  </a:lnTo>
                  <a:lnTo>
                    <a:pt x="598" y="2198"/>
                  </a:lnTo>
                  <a:lnTo>
                    <a:pt x="609" y="2289"/>
                  </a:lnTo>
                  <a:lnTo>
                    <a:pt x="623" y="2376"/>
                  </a:lnTo>
                  <a:lnTo>
                    <a:pt x="644" y="2461"/>
                  </a:lnTo>
                  <a:lnTo>
                    <a:pt x="669" y="2542"/>
                  </a:lnTo>
                  <a:lnTo>
                    <a:pt x="698" y="2620"/>
                  </a:lnTo>
                  <a:lnTo>
                    <a:pt x="735" y="2706"/>
                  </a:lnTo>
                  <a:lnTo>
                    <a:pt x="779" y="2790"/>
                  </a:lnTo>
                  <a:lnTo>
                    <a:pt x="827" y="2867"/>
                  </a:lnTo>
                  <a:lnTo>
                    <a:pt x="879" y="2942"/>
                  </a:lnTo>
                  <a:lnTo>
                    <a:pt x="937" y="3011"/>
                  </a:lnTo>
                  <a:lnTo>
                    <a:pt x="998" y="3076"/>
                  </a:lnTo>
                  <a:lnTo>
                    <a:pt x="1064" y="3136"/>
                  </a:lnTo>
                  <a:lnTo>
                    <a:pt x="1135" y="3191"/>
                  </a:lnTo>
                  <a:lnTo>
                    <a:pt x="1211" y="3241"/>
                  </a:lnTo>
                  <a:lnTo>
                    <a:pt x="1291" y="3288"/>
                  </a:lnTo>
                  <a:lnTo>
                    <a:pt x="1375" y="3329"/>
                  </a:lnTo>
                  <a:lnTo>
                    <a:pt x="1462" y="3365"/>
                  </a:lnTo>
                  <a:lnTo>
                    <a:pt x="1554" y="3396"/>
                  </a:lnTo>
                  <a:lnTo>
                    <a:pt x="1649" y="3422"/>
                  </a:lnTo>
                  <a:lnTo>
                    <a:pt x="1750" y="3442"/>
                  </a:lnTo>
                  <a:lnTo>
                    <a:pt x="1853" y="3456"/>
                  </a:lnTo>
                  <a:lnTo>
                    <a:pt x="1960" y="3465"/>
                  </a:lnTo>
                  <a:lnTo>
                    <a:pt x="2071" y="3467"/>
                  </a:lnTo>
                  <a:lnTo>
                    <a:pt x="2176" y="3465"/>
                  </a:lnTo>
                  <a:lnTo>
                    <a:pt x="2278" y="3459"/>
                  </a:lnTo>
                  <a:lnTo>
                    <a:pt x="2376" y="3449"/>
                  </a:lnTo>
                  <a:lnTo>
                    <a:pt x="2470" y="3434"/>
                  </a:lnTo>
                  <a:lnTo>
                    <a:pt x="2560" y="3416"/>
                  </a:lnTo>
                  <a:lnTo>
                    <a:pt x="2647" y="3392"/>
                  </a:lnTo>
                  <a:lnTo>
                    <a:pt x="2731" y="3367"/>
                  </a:lnTo>
                  <a:lnTo>
                    <a:pt x="2810" y="3336"/>
                  </a:lnTo>
                  <a:lnTo>
                    <a:pt x="2833" y="3329"/>
                  </a:lnTo>
                  <a:lnTo>
                    <a:pt x="2858" y="3327"/>
                  </a:lnTo>
                  <a:lnTo>
                    <a:pt x="2882" y="3332"/>
                  </a:lnTo>
                  <a:lnTo>
                    <a:pt x="2907" y="3341"/>
                  </a:lnTo>
                  <a:lnTo>
                    <a:pt x="2930" y="3354"/>
                  </a:lnTo>
                  <a:lnTo>
                    <a:pt x="2952" y="3372"/>
                  </a:lnTo>
                  <a:lnTo>
                    <a:pt x="2974" y="3392"/>
                  </a:lnTo>
                  <a:lnTo>
                    <a:pt x="2994" y="3416"/>
                  </a:lnTo>
                  <a:lnTo>
                    <a:pt x="3012" y="3442"/>
                  </a:lnTo>
                  <a:lnTo>
                    <a:pt x="3028" y="3471"/>
                  </a:lnTo>
                  <a:lnTo>
                    <a:pt x="3043" y="3500"/>
                  </a:lnTo>
                  <a:lnTo>
                    <a:pt x="3055" y="3531"/>
                  </a:lnTo>
                  <a:lnTo>
                    <a:pt x="3065" y="3564"/>
                  </a:lnTo>
                  <a:lnTo>
                    <a:pt x="3071" y="3596"/>
                  </a:lnTo>
                  <a:lnTo>
                    <a:pt x="3075" y="3628"/>
                  </a:lnTo>
                  <a:lnTo>
                    <a:pt x="3075" y="3660"/>
                  </a:lnTo>
                  <a:lnTo>
                    <a:pt x="3071" y="3689"/>
                  </a:lnTo>
                  <a:lnTo>
                    <a:pt x="3064" y="3719"/>
                  </a:lnTo>
                  <a:lnTo>
                    <a:pt x="3053" y="3746"/>
                  </a:lnTo>
                  <a:lnTo>
                    <a:pt x="3037" y="3769"/>
                  </a:lnTo>
                  <a:lnTo>
                    <a:pt x="3016" y="3791"/>
                  </a:lnTo>
                  <a:lnTo>
                    <a:pt x="2990" y="3810"/>
                  </a:lnTo>
                  <a:lnTo>
                    <a:pt x="2960" y="3823"/>
                  </a:lnTo>
                  <a:lnTo>
                    <a:pt x="2854" y="3860"/>
                  </a:lnTo>
                  <a:lnTo>
                    <a:pt x="2745" y="3893"/>
                  </a:lnTo>
                  <a:lnTo>
                    <a:pt x="2634" y="3920"/>
                  </a:lnTo>
                  <a:lnTo>
                    <a:pt x="2519" y="3942"/>
                  </a:lnTo>
                  <a:lnTo>
                    <a:pt x="2402" y="3959"/>
                  </a:lnTo>
                  <a:lnTo>
                    <a:pt x="2282" y="3970"/>
                  </a:lnTo>
                  <a:lnTo>
                    <a:pt x="2160" y="3978"/>
                  </a:lnTo>
                  <a:lnTo>
                    <a:pt x="2035" y="3980"/>
                  </a:lnTo>
                  <a:lnTo>
                    <a:pt x="1908" y="3978"/>
                  </a:lnTo>
                  <a:lnTo>
                    <a:pt x="1783" y="3968"/>
                  </a:lnTo>
                  <a:lnTo>
                    <a:pt x="1662" y="3953"/>
                  </a:lnTo>
                  <a:lnTo>
                    <a:pt x="1543" y="3931"/>
                  </a:lnTo>
                  <a:lnTo>
                    <a:pt x="1427" y="3904"/>
                  </a:lnTo>
                  <a:lnTo>
                    <a:pt x="1315" y="3871"/>
                  </a:lnTo>
                  <a:lnTo>
                    <a:pt x="1206" y="3833"/>
                  </a:lnTo>
                  <a:lnTo>
                    <a:pt x="1102" y="3789"/>
                  </a:lnTo>
                  <a:lnTo>
                    <a:pt x="1000" y="3740"/>
                  </a:lnTo>
                  <a:lnTo>
                    <a:pt x="905" y="3686"/>
                  </a:lnTo>
                  <a:lnTo>
                    <a:pt x="813" y="3627"/>
                  </a:lnTo>
                  <a:lnTo>
                    <a:pt x="725" y="3563"/>
                  </a:lnTo>
                  <a:lnTo>
                    <a:pt x="642" y="3494"/>
                  </a:lnTo>
                  <a:lnTo>
                    <a:pt x="563" y="3422"/>
                  </a:lnTo>
                  <a:lnTo>
                    <a:pt x="489" y="3345"/>
                  </a:lnTo>
                  <a:lnTo>
                    <a:pt x="419" y="3262"/>
                  </a:lnTo>
                  <a:lnTo>
                    <a:pt x="354" y="3176"/>
                  </a:lnTo>
                  <a:lnTo>
                    <a:pt x="294" y="3086"/>
                  </a:lnTo>
                  <a:lnTo>
                    <a:pt x="240" y="2991"/>
                  </a:lnTo>
                  <a:lnTo>
                    <a:pt x="191" y="2893"/>
                  </a:lnTo>
                  <a:lnTo>
                    <a:pt x="147" y="2791"/>
                  </a:lnTo>
                  <a:lnTo>
                    <a:pt x="111" y="2699"/>
                  </a:lnTo>
                  <a:lnTo>
                    <a:pt x="82" y="2605"/>
                  </a:lnTo>
                  <a:lnTo>
                    <a:pt x="56" y="2509"/>
                  </a:lnTo>
                  <a:lnTo>
                    <a:pt x="36" y="2409"/>
                  </a:lnTo>
                  <a:lnTo>
                    <a:pt x="20" y="2309"/>
                  </a:lnTo>
                  <a:lnTo>
                    <a:pt x="9" y="2206"/>
                  </a:lnTo>
                  <a:lnTo>
                    <a:pt x="2" y="2101"/>
                  </a:lnTo>
                  <a:lnTo>
                    <a:pt x="0" y="1995"/>
                  </a:lnTo>
                  <a:lnTo>
                    <a:pt x="2" y="1890"/>
                  </a:lnTo>
                  <a:lnTo>
                    <a:pt x="10" y="1786"/>
                  </a:lnTo>
                  <a:lnTo>
                    <a:pt x="22" y="1684"/>
                  </a:lnTo>
                  <a:lnTo>
                    <a:pt x="40" y="1583"/>
                  </a:lnTo>
                  <a:lnTo>
                    <a:pt x="62" y="1484"/>
                  </a:lnTo>
                  <a:lnTo>
                    <a:pt x="91" y="1388"/>
                  </a:lnTo>
                  <a:lnTo>
                    <a:pt x="122" y="1294"/>
                  </a:lnTo>
                  <a:lnTo>
                    <a:pt x="159" y="1203"/>
                  </a:lnTo>
                  <a:lnTo>
                    <a:pt x="207" y="1101"/>
                  </a:lnTo>
                  <a:lnTo>
                    <a:pt x="261" y="1003"/>
                  </a:lnTo>
                  <a:lnTo>
                    <a:pt x="318" y="908"/>
                  </a:lnTo>
                  <a:lnTo>
                    <a:pt x="381" y="818"/>
                  </a:lnTo>
                  <a:lnTo>
                    <a:pt x="448" y="730"/>
                  </a:lnTo>
                  <a:lnTo>
                    <a:pt x="520" y="648"/>
                  </a:lnTo>
                  <a:lnTo>
                    <a:pt x="598" y="571"/>
                  </a:lnTo>
                  <a:lnTo>
                    <a:pt x="678" y="497"/>
                  </a:lnTo>
                  <a:lnTo>
                    <a:pt x="763" y="429"/>
                  </a:lnTo>
                  <a:lnTo>
                    <a:pt x="851" y="364"/>
                  </a:lnTo>
                  <a:lnTo>
                    <a:pt x="944" y="303"/>
                  </a:lnTo>
                  <a:lnTo>
                    <a:pt x="1041" y="248"/>
                  </a:lnTo>
                  <a:lnTo>
                    <a:pt x="1141" y="197"/>
                  </a:lnTo>
                  <a:lnTo>
                    <a:pt x="1244" y="150"/>
                  </a:lnTo>
                  <a:lnTo>
                    <a:pt x="1352" y="111"/>
                  </a:lnTo>
                  <a:lnTo>
                    <a:pt x="1461" y="78"/>
                  </a:lnTo>
                  <a:lnTo>
                    <a:pt x="1572" y="49"/>
                  </a:lnTo>
                  <a:lnTo>
                    <a:pt x="1685" y="27"/>
                  </a:lnTo>
                  <a:lnTo>
                    <a:pt x="1800" y="13"/>
                  </a:lnTo>
                  <a:lnTo>
                    <a:pt x="1916" y="3"/>
                  </a:lnTo>
                  <a:lnTo>
                    <a:pt x="203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1500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Przeprowadzenie analizy możliwości usunięcia redundancji danych sprawozdawczych, przesyłanych różnym instytucjom przez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przedsiębiorców</a:t>
            </a: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529205" lvl="2" indent="-154782">
              <a:spcBef>
                <a:spcPct val="0"/>
              </a:spcBef>
              <a:spcAft>
                <a:spcPct val="0"/>
              </a:spcAft>
              <a:buClr>
                <a:schemeClr val="tx2">
                  <a:lumMod val="100000"/>
                </a:schemeClr>
              </a:buClr>
              <a:buSzPct val="100000"/>
              <a:buFont typeface="Arial" panose="020B0604020202020204" pitchFamily="34" charset="0"/>
              <a:buChar char="–"/>
            </a:pPr>
            <a:r>
              <a:rPr lang="pl-PL" altLang="pl-PL" sz="13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 pierwszym etapie weryfikacja w zakresie </a:t>
            </a:r>
            <a:r>
              <a:rPr lang="pl-PL" altLang="pl-PL" sz="1300" dirty="0" smtClean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ynku kapitałowego, </a:t>
            </a:r>
            <a:r>
              <a:rPr lang="pl-PL" altLang="pl-PL" sz="13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stępnie sprawozdawczość na rzecz </a:t>
            </a:r>
            <a:r>
              <a:rPr lang="pl-PL" altLang="pl-PL" sz="1300" dirty="0" smtClean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US</a:t>
            </a:r>
            <a:endParaRPr lang="pl-PL" altLang="pl-PL" sz="1300" dirty="0">
              <a:solidFill>
                <a:srgbClr val="000000">
                  <a:lumMod val="10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98808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813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5" name="Table 74"/>
          <p:cNvGraphicFramePr>
            <a:graphicFrameLocks noGrp="1"/>
          </p:cNvGraphicFramePr>
          <p:nvPr>
            <p:extLst/>
          </p:nvPr>
        </p:nvGraphicFramePr>
        <p:xfrm>
          <a:off x="457200" y="1186354"/>
          <a:ext cx="8991600" cy="11972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8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94612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954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91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8E8E8E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r>
                        <a:rPr lang="pl-PL" sz="1100" b="1" i="0" u="none" strike="noStrike" dirty="0" smtClean="0">
                          <a:solidFill>
                            <a:srgbClr val="8E8E8E"/>
                          </a:solidFill>
                          <a:effectLst/>
                          <a:latin typeface="Calibri" panose="020F0502020204030204" pitchFamily="34" charset="0"/>
                        </a:rPr>
                        <a:t>.1</a:t>
                      </a:r>
                      <a:endParaRPr lang="pl-PL" sz="1100" b="1" i="0" u="none" strike="noStrike" dirty="0">
                        <a:solidFill>
                          <a:srgbClr val="8E8E8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u="none" strike="noStrike" dirty="0" smtClean="0">
                          <a:solidFill>
                            <a:srgbClr val="8E8E8E"/>
                          </a:solidFill>
                          <a:effectLst/>
                          <a:latin typeface="Calibri" panose="020F0502020204030204" pitchFamily="34" charset="0"/>
                        </a:rPr>
                        <a:t>Analiza</a:t>
                      </a:r>
                      <a:r>
                        <a:rPr lang="pl-PL" sz="1100" u="none" strike="noStrike" baseline="0" dirty="0" smtClean="0">
                          <a:solidFill>
                            <a:srgbClr val="8E8E8E"/>
                          </a:solidFill>
                          <a:effectLst/>
                          <a:latin typeface="Calibri" panose="020F0502020204030204" pitchFamily="34" charset="0"/>
                        </a:rPr>
                        <a:t> obciążeń administracyjnych</a:t>
                      </a:r>
                      <a:endParaRPr lang="pl-PL" sz="1100" u="none" strike="noStrike" dirty="0">
                        <a:solidFill>
                          <a:srgbClr val="8E8E8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.2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prawozdania finansowe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8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.3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iany w prawie telekomunikacyjnym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.2018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5366" name="Title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675439" cy="831850"/>
          </a:xfrm>
        </p:spPr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Cele strumienia </a:t>
            </a:r>
            <a:r>
              <a:rPr lang="pl-PL" altLang="pl-PL" dirty="0" smtClean="0">
                <a:solidFill>
                  <a:srgbClr val="DC6E00"/>
                </a:solidFill>
              </a:rPr>
              <a:t>e-Sprawozdawczość</a:t>
            </a:r>
            <a:r>
              <a:rPr lang="pl-PL" altLang="pl-PL" dirty="0" smtClean="0">
                <a:solidFill>
                  <a:srgbClr val="0166B6"/>
                </a:solidFill>
              </a:rPr>
              <a:t> </a:t>
            </a:r>
            <a:r>
              <a:rPr lang="pl-PL" altLang="pl-PL" dirty="0">
                <a:solidFill>
                  <a:srgbClr val="0166B6"/>
                </a:solidFill>
              </a:rPr>
              <a:t>są </a:t>
            </a:r>
            <a:r>
              <a:rPr lang="pl-PL" altLang="pl-PL" dirty="0" smtClean="0">
                <a:solidFill>
                  <a:srgbClr val="0166B6"/>
                </a:solidFill>
              </a:rPr>
              <a:t>aktualnie realizowane </a:t>
            </a:r>
            <a:r>
              <a:rPr lang="pl-PL" altLang="pl-PL" dirty="0">
                <a:solidFill>
                  <a:srgbClr val="0166B6"/>
                </a:solidFill>
              </a:rPr>
              <a:t>w ramach </a:t>
            </a:r>
            <a:r>
              <a:rPr lang="pl-PL" altLang="pl-PL" dirty="0" smtClean="0">
                <a:solidFill>
                  <a:srgbClr val="DC6E00"/>
                </a:solidFill>
              </a:rPr>
              <a:t>dwóch głównych podstrumieniach</a:t>
            </a:r>
            <a:endParaRPr lang="pl-PL" altLang="pl-PL" dirty="0">
              <a:solidFill>
                <a:srgbClr val="0166B6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677988" y="6496294"/>
            <a:ext cx="17956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Wczesne prace koncepcyjne</a:t>
            </a:r>
          </a:p>
        </p:txBody>
      </p:sp>
      <p:sp>
        <p:nvSpPr>
          <p:cNvPr id="93" name="Rectangle 92"/>
          <p:cNvSpPr/>
          <p:nvPr/>
        </p:nvSpPr>
        <p:spPr>
          <a:xfrm>
            <a:off x="641350" y="6489944"/>
            <a:ext cx="816249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94" name="Oval 93"/>
          <p:cNvSpPr/>
          <p:nvPr/>
        </p:nvSpPr>
        <p:spPr bwMode="gray">
          <a:xfrm>
            <a:off x="3516313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5" name="Arc 94"/>
          <p:cNvSpPr/>
          <p:nvPr/>
        </p:nvSpPr>
        <p:spPr bwMode="gray">
          <a:xfrm>
            <a:off x="3516313" y="6513158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3724275" y="6485547"/>
            <a:ext cx="21691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awansowane prace koncepcyjne</a:t>
            </a:r>
          </a:p>
        </p:txBody>
      </p:sp>
      <p:sp>
        <p:nvSpPr>
          <p:cNvPr id="98" name="Oval 97"/>
          <p:cNvSpPr/>
          <p:nvPr/>
        </p:nvSpPr>
        <p:spPr bwMode="gray">
          <a:xfrm>
            <a:off x="5904097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1" name="Arc 110"/>
          <p:cNvSpPr/>
          <p:nvPr/>
        </p:nvSpPr>
        <p:spPr bwMode="gray">
          <a:xfrm>
            <a:off x="5904097" y="6513158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6112059" y="6485547"/>
            <a:ext cx="181171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116" name="Oval 115"/>
          <p:cNvSpPr/>
          <p:nvPr/>
        </p:nvSpPr>
        <p:spPr bwMode="gray">
          <a:xfrm>
            <a:off x="7889193" y="6513158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8106681" y="6485547"/>
            <a:ext cx="862737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129" name="Oval 128"/>
          <p:cNvSpPr/>
          <p:nvPr>
            <p:custDataLst>
              <p:tags r:id="rId3"/>
            </p:custDataLst>
          </p:nvPr>
        </p:nvSpPr>
        <p:spPr bwMode="gray">
          <a:xfrm>
            <a:off x="433388" y="65182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5" name="Oval 134"/>
          <p:cNvSpPr/>
          <p:nvPr>
            <p:custDataLst>
              <p:tags r:id="rId4"/>
            </p:custDataLst>
          </p:nvPr>
        </p:nvSpPr>
        <p:spPr bwMode="gray">
          <a:xfrm>
            <a:off x="1447800" y="652462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7" name="Arc 136"/>
          <p:cNvSpPr/>
          <p:nvPr>
            <p:custDataLst>
              <p:tags r:id="rId5"/>
            </p:custDataLst>
          </p:nvPr>
        </p:nvSpPr>
        <p:spPr bwMode="gray">
          <a:xfrm>
            <a:off x="1447800" y="6524625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20" name="Oval 119"/>
          <p:cNvSpPr/>
          <p:nvPr/>
        </p:nvSpPr>
        <p:spPr bwMode="auto">
          <a:xfrm>
            <a:off x="8103982" y="1902668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40" name="clipart_tick"/>
          <p:cNvSpPr>
            <a:spLocks noChangeAspect="1"/>
          </p:cNvSpPr>
          <p:nvPr/>
        </p:nvSpPr>
        <p:spPr bwMode="gray">
          <a:xfrm>
            <a:off x="8118074" y="1608137"/>
            <a:ext cx="182272" cy="196459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2" name="Oval 141"/>
          <p:cNvSpPr/>
          <p:nvPr>
            <p:custDataLst>
              <p:tags r:id="rId6"/>
            </p:custDataLst>
          </p:nvPr>
        </p:nvSpPr>
        <p:spPr bwMode="gray">
          <a:xfrm>
            <a:off x="7256667" y="1604962"/>
            <a:ext cx="203200" cy="203200"/>
          </a:xfrm>
          <a:prstGeom prst="ellipse">
            <a:avLst/>
          </a:prstGeom>
          <a:solidFill>
            <a:srgbClr val="B2B2B2"/>
          </a:solidFill>
          <a:ln w="9525">
            <a:solidFill>
              <a:srgbClr val="B2B2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6" name="Oval 155"/>
          <p:cNvSpPr/>
          <p:nvPr>
            <p:custDataLst>
              <p:tags r:id="rId7"/>
            </p:custDataLst>
          </p:nvPr>
        </p:nvSpPr>
        <p:spPr bwMode="gray">
          <a:xfrm>
            <a:off x="7256667" y="1877013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Arc 1"/>
          <p:cNvSpPr/>
          <p:nvPr>
            <p:custDataLst>
              <p:tags r:id="rId8"/>
            </p:custDataLst>
          </p:nvPr>
        </p:nvSpPr>
        <p:spPr bwMode="gray">
          <a:xfrm>
            <a:off x="7256667" y="1883264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59" name="Oval 158"/>
          <p:cNvSpPr/>
          <p:nvPr>
            <p:custDataLst>
              <p:tags r:id="rId9"/>
            </p:custDataLst>
          </p:nvPr>
        </p:nvSpPr>
        <p:spPr bwMode="gray">
          <a:xfrm>
            <a:off x="7256667" y="2131947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" name="Arc 2"/>
          <p:cNvSpPr/>
          <p:nvPr>
            <p:custDataLst>
              <p:tags r:id="rId10"/>
            </p:custDataLst>
          </p:nvPr>
        </p:nvSpPr>
        <p:spPr bwMode="gray">
          <a:xfrm>
            <a:off x="7256667" y="2140154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43" name="Oval 119"/>
          <p:cNvSpPr/>
          <p:nvPr/>
        </p:nvSpPr>
        <p:spPr bwMode="auto">
          <a:xfrm>
            <a:off x="8106681" y="2153250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70184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6309992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90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56874" lvl="3" indent="-194331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biznesowy: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Kamil Jaczewski (Akcelerator Tech)</a:t>
            </a:r>
            <a:endParaRPr lang="pl-PL" sz="1517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drożeniowy: Piotr Rutkowski (MC)</a:t>
            </a:r>
            <a:endParaRPr lang="pl-PL" sz="1517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Strumień</a:t>
            </a:r>
            <a:r>
              <a:rPr lang="pl-PL" altLang="pl-PL" dirty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Rejestry Rozproszone </a:t>
            </a:r>
            <a:r>
              <a:rPr lang="pl-PL" altLang="pl-PL" dirty="0" smtClean="0">
                <a:solidFill>
                  <a:srgbClr val="0166B6"/>
                </a:solidFill>
              </a:rPr>
              <a:t>pracuje nad rozpowszechnieniem technologii </a:t>
            </a:r>
            <a:r>
              <a:rPr lang="pl-PL" altLang="pl-PL" dirty="0" err="1" smtClean="0">
                <a:solidFill>
                  <a:srgbClr val="0166B6"/>
                </a:solidFill>
              </a:rPr>
              <a:t>blockchain</a:t>
            </a:r>
            <a:r>
              <a:rPr lang="pl-PL" altLang="pl-PL" dirty="0" smtClean="0">
                <a:solidFill>
                  <a:srgbClr val="0166B6"/>
                </a:solidFill>
              </a:rPr>
              <a:t> w gospodarce</a:t>
            </a: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357156" y="3008171"/>
            <a:ext cx="2702708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6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grpSp>
        <p:nvGrpSpPr>
          <p:cNvPr id="13328" name="Group 31"/>
          <p:cNvGrpSpPr>
            <a:grpSpLocks/>
          </p:cNvGrpSpPr>
          <p:nvPr/>
        </p:nvGrpSpPr>
        <p:grpSpPr bwMode="auto">
          <a:xfrm>
            <a:off x="686197" y="1963700"/>
            <a:ext cx="702000" cy="624000"/>
            <a:chOff x="1019177" y="1648406"/>
            <a:chExt cx="869682" cy="740783"/>
          </a:xfrm>
        </p:grpSpPr>
        <p:grpSp>
          <p:nvGrpSpPr>
            <p:cNvPr id="13330" name="Group 16"/>
            <p:cNvGrpSpPr>
              <a:grpSpLocks noChangeAspect="1"/>
            </p:cNvGrpSpPr>
            <p:nvPr/>
          </p:nvGrpSpPr>
          <p:grpSpPr bwMode="auto">
            <a:xfrm>
              <a:off x="1019177" y="1648406"/>
              <a:ext cx="771027" cy="740783"/>
              <a:chOff x="1055" y="1007"/>
              <a:chExt cx="267" cy="257"/>
            </a:xfrm>
          </p:grpSpPr>
          <p:sp>
            <p:nvSpPr>
              <p:cNvPr id="13332" name="Freeform 18"/>
              <p:cNvSpPr>
                <a:spLocks/>
              </p:cNvSpPr>
              <p:nvPr/>
            </p:nvSpPr>
            <p:spPr bwMode="auto">
              <a:xfrm>
                <a:off x="1131" y="1007"/>
                <a:ext cx="97" cy="68"/>
              </a:xfrm>
              <a:custGeom>
                <a:avLst/>
                <a:gdLst>
                  <a:gd name="T0" fmla="*/ 0 w 1075"/>
                  <a:gd name="T1" fmla="*/ 0 h 748"/>
                  <a:gd name="T2" fmla="*/ 0 w 1075"/>
                  <a:gd name="T3" fmla="*/ 0 h 748"/>
                  <a:gd name="T4" fmla="*/ 0 w 1075"/>
                  <a:gd name="T5" fmla="*/ 0 h 748"/>
                  <a:gd name="T6" fmla="*/ 0 w 1075"/>
                  <a:gd name="T7" fmla="*/ 0 h 748"/>
                  <a:gd name="T8" fmla="*/ 0 w 1075"/>
                  <a:gd name="T9" fmla="*/ 0 h 748"/>
                  <a:gd name="T10" fmla="*/ 0 w 1075"/>
                  <a:gd name="T11" fmla="*/ 0 h 748"/>
                  <a:gd name="T12" fmla="*/ 0 w 1075"/>
                  <a:gd name="T13" fmla="*/ 0 h 748"/>
                  <a:gd name="T14" fmla="*/ 0 w 1075"/>
                  <a:gd name="T15" fmla="*/ 0 h 748"/>
                  <a:gd name="T16" fmla="*/ 0 w 1075"/>
                  <a:gd name="T17" fmla="*/ 0 h 748"/>
                  <a:gd name="T18" fmla="*/ 0 w 1075"/>
                  <a:gd name="T19" fmla="*/ 0 h 748"/>
                  <a:gd name="T20" fmla="*/ 0 w 1075"/>
                  <a:gd name="T21" fmla="*/ 0 h 748"/>
                  <a:gd name="T22" fmla="*/ 0 w 1075"/>
                  <a:gd name="T23" fmla="*/ 0 h 748"/>
                  <a:gd name="T24" fmla="*/ 0 w 1075"/>
                  <a:gd name="T25" fmla="*/ 0 h 748"/>
                  <a:gd name="T26" fmla="*/ 0 w 1075"/>
                  <a:gd name="T27" fmla="*/ 0 h 748"/>
                  <a:gd name="T28" fmla="*/ 0 w 1075"/>
                  <a:gd name="T29" fmla="*/ 0 h 748"/>
                  <a:gd name="T30" fmla="*/ 0 w 1075"/>
                  <a:gd name="T31" fmla="*/ 0 h 748"/>
                  <a:gd name="T32" fmla="*/ 0 w 1075"/>
                  <a:gd name="T33" fmla="*/ 0 h 748"/>
                  <a:gd name="T34" fmla="*/ 0 w 1075"/>
                  <a:gd name="T35" fmla="*/ 0 h 748"/>
                  <a:gd name="T36" fmla="*/ 0 w 1075"/>
                  <a:gd name="T37" fmla="*/ 0 h 748"/>
                  <a:gd name="T38" fmla="*/ 0 w 1075"/>
                  <a:gd name="T39" fmla="*/ 0 h 748"/>
                  <a:gd name="T40" fmla="*/ 0 w 1075"/>
                  <a:gd name="T41" fmla="*/ 0 h 748"/>
                  <a:gd name="T42" fmla="*/ 0 w 1075"/>
                  <a:gd name="T43" fmla="*/ 0 h 748"/>
                  <a:gd name="T44" fmla="*/ 0 w 1075"/>
                  <a:gd name="T45" fmla="*/ 0 h 748"/>
                  <a:gd name="T46" fmla="*/ 0 w 1075"/>
                  <a:gd name="T47" fmla="*/ 0 h 748"/>
                  <a:gd name="T48" fmla="*/ 0 w 1075"/>
                  <a:gd name="T49" fmla="*/ 0 h 748"/>
                  <a:gd name="T50" fmla="*/ 0 w 1075"/>
                  <a:gd name="T51" fmla="*/ 0 h 748"/>
                  <a:gd name="T52" fmla="*/ 0 w 1075"/>
                  <a:gd name="T53" fmla="*/ 0 h 748"/>
                  <a:gd name="T54" fmla="*/ 0 w 1075"/>
                  <a:gd name="T55" fmla="*/ 0 h 748"/>
                  <a:gd name="T56" fmla="*/ 0 w 1075"/>
                  <a:gd name="T57" fmla="*/ 0 h 748"/>
                  <a:gd name="T58" fmla="*/ 0 w 1075"/>
                  <a:gd name="T59" fmla="*/ 0 h 748"/>
                  <a:gd name="T60" fmla="*/ 0 w 1075"/>
                  <a:gd name="T61" fmla="*/ 0 h 748"/>
                  <a:gd name="T62" fmla="*/ 0 w 1075"/>
                  <a:gd name="T63" fmla="*/ 0 h 748"/>
                  <a:gd name="T64" fmla="*/ 0 w 1075"/>
                  <a:gd name="T65" fmla="*/ 0 h 748"/>
                  <a:gd name="T66" fmla="*/ 0 w 1075"/>
                  <a:gd name="T67" fmla="*/ 0 h 748"/>
                  <a:gd name="T68" fmla="*/ 0 w 1075"/>
                  <a:gd name="T69" fmla="*/ 0 h 748"/>
                  <a:gd name="T70" fmla="*/ 0 w 1075"/>
                  <a:gd name="T71" fmla="*/ 0 h 74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5"/>
                  <a:gd name="T109" fmla="*/ 0 h 748"/>
                  <a:gd name="T110" fmla="*/ 1075 w 1075"/>
                  <a:gd name="T111" fmla="*/ 748 h 74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5" h="748">
                    <a:moveTo>
                      <a:pt x="902" y="0"/>
                    </a:moveTo>
                    <a:lnTo>
                      <a:pt x="916" y="4"/>
                    </a:lnTo>
                    <a:lnTo>
                      <a:pt x="928" y="12"/>
                    </a:lnTo>
                    <a:lnTo>
                      <a:pt x="936" y="23"/>
                    </a:lnTo>
                    <a:lnTo>
                      <a:pt x="1071" y="303"/>
                    </a:lnTo>
                    <a:lnTo>
                      <a:pt x="1075" y="317"/>
                    </a:lnTo>
                    <a:lnTo>
                      <a:pt x="1074" y="332"/>
                    </a:lnTo>
                    <a:lnTo>
                      <a:pt x="1068" y="344"/>
                    </a:lnTo>
                    <a:lnTo>
                      <a:pt x="1063" y="350"/>
                    </a:lnTo>
                    <a:lnTo>
                      <a:pt x="1059" y="354"/>
                    </a:lnTo>
                    <a:lnTo>
                      <a:pt x="1045" y="361"/>
                    </a:lnTo>
                    <a:lnTo>
                      <a:pt x="1031" y="363"/>
                    </a:lnTo>
                    <a:lnTo>
                      <a:pt x="721" y="339"/>
                    </a:lnTo>
                    <a:lnTo>
                      <a:pt x="707" y="336"/>
                    </a:lnTo>
                    <a:lnTo>
                      <a:pt x="695" y="328"/>
                    </a:lnTo>
                    <a:lnTo>
                      <a:pt x="686" y="316"/>
                    </a:lnTo>
                    <a:lnTo>
                      <a:pt x="682" y="302"/>
                    </a:lnTo>
                    <a:lnTo>
                      <a:pt x="683" y="288"/>
                    </a:lnTo>
                    <a:lnTo>
                      <a:pt x="690" y="274"/>
                    </a:lnTo>
                    <a:lnTo>
                      <a:pt x="708" y="247"/>
                    </a:lnTo>
                    <a:lnTo>
                      <a:pt x="659" y="243"/>
                    </a:lnTo>
                    <a:lnTo>
                      <a:pt x="609" y="244"/>
                    </a:lnTo>
                    <a:lnTo>
                      <a:pt x="559" y="251"/>
                    </a:lnTo>
                    <a:lnTo>
                      <a:pt x="511" y="265"/>
                    </a:lnTo>
                    <a:lnTo>
                      <a:pt x="465" y="282"/>
                    </a:lnTo>
                    <a:lnTo>
                      <a:pt x="421" y="306"/>
                    </a:lnTo>
                    <a:lnTo>
                      <a:pt x="379" y="334"/>
                    </a:lnTo>
                    <a:lnTo>
                      <a:pt x="342" y="364"/>
                    </a:lnTo>
                    <a:lnTo>
                      <a:pt x="310" y="398"/>
                    </a:lnTo>
                    <a:lnTo>
                      <a:pt x="282" y="435"/>
                    </a:lnTo>
                    <a:lnTo>
                      <a:pt x="258" y="474"/>
                    </a:lnTo>
                    <a:lnTo>
                      <a:pt x="238" y="514"/>
                    </a:lnTo>
                    <a:lnTo>
                      <a:pt x="222" y="558"/>
                    </a:lnTo>
                    <a:lnTo>
                      <a:pt x="212" y="603"/>
                    </a:lnTo>
                    <a:lnTo>
                      <a:pt x="205" y="648"/>
                    </a:lnTo>
                    <a:lnTo>
                      <a:pt x="203" y="695"/>
                    </a:lnTo>
                    <a:lnTo>
                      <a:pt x="202" y="709"/>
                    </a:lnTo>
                    <a:lnTo>
                      <a:pt x="196" y="720"/>
                    </a:lnTo>
                    <a:lnTo>
                      <a:pt x="188" y="730"/>
                    </a:lnTo>
                    <a:lnTo>
                      <a:pt x="177" y="735"/>
                    </a:lnTo>
                    <a:lnTo>
                      <a:pt x="166" y="738"/>
                    </a:lnTo>
                    <a:lnTo>
                      <a:pt x="45" y="748"/>
                    </a:lnTo>
                    <a:lnTo>
                      <a:pt x="33" y="747"/>
                    </a:lnTo>
                    <a:lnTo>
                      <a:pt x="23" y="743"/>
                    </a:lnTo>
                    <a:lnTo>
                      <a:pt x="13" y="737"/>
                    </a:lnTo>
                    <a:lnTo>
                      <a:pt x="7" y="728"/>
                    </a:lnTo>
                    <a:lnTo>
                      <a:pt x="2" y="718"/>
                    </a:lnTo>
                    <a:lnTo>
                      <a:pt x="0" y="707"/>
                    </a:lnTo>
                    <a:lnTo>
                      <a:pt x="1" y="650"/>
                    </a:lnTo>
                    <a:lnTo>
                      <a:pt x="6" y="594"/>
                    </a:lnTo>
                    <a:lnTo>
                      <a:pt x="16" y="540"/>
                    </a:lnTo>
                    <a:lnTo>
                      <a:pt x="32" y="486"/>
                    </a:lnTo>
                    <a:lnTo>
                      <a:pt x="51" y="434"/>
                    </a:lnTo>
                    <a:lnTo>
                      <a:pt x="75" y="384"/>
                    </a:lnTo>
                    <a:lnTo>
                      <a:pt x="104" y="336"/>
                    </a:lnTo>
                    <a:lnTo>
                      <a:pt x="135" y="291"/>
                    </a:lnTo>
                    <a:lnTo>
                      <a:pt x="172" y="248"/>
                    </a:lnTo>
                    <a:lnTo>
                      <a:pt x="211" y="208"/>
                    </a:lnTo>
                    <a:lnTo>
                      <a:pt x="255" y="172"/>
                    </a:lnTo>
                    <a:lnTo>
                      <a:pt x="306" y="136"/>
                    </a:lnTo>
                    <a:lnTo>
                      <a:pt x="360" y="106"/>
                    </a:lnTo>
                    <a:lnTo>
                      <a:pt x="415" y="81"/>
                    </a:lnTo>
                    <a:lnTo>
                      <a:pt x="472" y="62"/>
                    </a:lnTo>
                    <a:lnTo>
                      <a:pt x="531" y="48"/>
                    </a:lnTo>
                    <a:lnTo>
                      <a:pt x="591" y="40"/>
                    </a:lnTo>
                    <a:lnTo>
                      <a:pt x="651" y="38"/>
                    </a:lnTo>
                    <a:lnTo>
                      <a:pt x="712" y="41"/>
                    </a:lnTo>
                    <a:lnTo>
                      <a:pt x="772" y="50"/>
                    </a:lnTo>
                    <a:lnTo>
                      <a:pt x="832" y="65"/>
                    </a:lnTo>
                    <a:lnTo>
                      <a:pt x="865" y="18"/>
                    </a:lnTo>
                    <a:lnTo>
                      <a:pt x="874" y="7"/>
                    </a:lnTo>
                    <a:lnTo>
                      <a:pt x="888" y="2"/>
                    </a:lnTo>
                    <a:lnTo>
                      <a:pt x="9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3" name="Freeform 19"/>
              <p:cNvSpPr>
                <a:spLocks/>
              </p:cNvSpPr>
              <p:nvPr/>
            </p:nvSpPr>
            <p:spPr bwMode="auto">
              <a:xfrm>
                <a:off x="1225" y="1163"/>
                <a:ext cx="97" cy="68"/>
              </a:xfrm>
              <a:custGeom>
                <a:avLst/>
                <a:gdLst>
                  <a:gd name="T0" fmla="*/ 0 w 1074"/>
                  <a:gd name="T1" fmla="*/ 0 h 746"/>
                  <a:gd name="T2" fmla="*/ 0 w 1074"/>
                  <a:gd name="T3" fmla="*/ 0 h 746"/>
                  <a:gd name="T4" fmla="*/ 0 w 1074"/>
                  <a:gd name="T5" fmla="*/ 0 h 746"/>
                  <a:gd name="T6" fmla="*/ 0 w 1074"/>
                  <a:gd name="T7" fmla="*/ 0 h 746"/>
                  <a:gd name="T8" fmla="*/ 0 w 1074"/>
                  <a:gd name="T9" fmla="*/ 0 h 746"/>
                  <a:gd name="T10" fmla="*/ 0 w 1074"/>
                  <a:gd name="T11" fmla="*/ 0 h 746"/>
                  <a:gd name="T12" fmla="*/ 0 w 1074"/>
                  <a:gd name="T13" fmla="*/ 0 h 746"/>
                  <a:gd name="T14" fmla="*/ 0 w 1074"/>
                  <a:gd name="T15" fmla="*/ 0 h 746"/>
                  <a:gd name="T16" fmla="*/ 0 w 1074"/>
                  <a:gd name="T17" fmla="*/ 0 h 746"/>
                  <a:gd name="T18" fmla="*/ 0 w 1074"/>
                  <a:gd name="T19" fmla="*/ 0 h 746"/>
                  <a:gd name="T20" fmla="*/ 0 w 1074"/>
                  <a:gd name="T21" fmla="*/ 0 h 746"/>
                  <a:gd name="T22" fmla="*/ 0 w 1074"/>
                  <a:gd name="T23" fmla="*/ 0 h 746"/>
                  <a:gd name="T24" fmla="*/ 0 w 1074"/>
                  <a:gd name="T25" fmla="*/ 0 h 746"/>
                  <a:gd name="T26" fmla="*/ 0 w 1074"/>
                  <a:gd name="T27" fmla="*/ 0 h 746"/>
                  <a:gd name="T28" fmla="*/ 0 w 1074"/>
                  <a:gd name="T29" fmla="*/ 0 h 746"/>
                  <a:gd name="T30" fmla="*/ 0 w 1074"/>
                  <a:gd name="T31" fmla="*/ 0 h 746"/>
                  <a:gd name="T32" fmla="*/ 0 w 1074"/>
                  <a:gd name="T33" fmla="*/ 0 h 746"/>
                  <a:gd name="T34" fmla="*/ 0 w 1074"/>
                  <a:gd name="T35" fmla="*/ 0 h 746"/>
                  <a:gd name="T36" fmla="*/ 0 w 1074"/>
                  <a:gd name="T37" fmla="*/ 0 h 746"/>
                  <a:gd name="T38" fmla="*/ 0 w 1074"/>
                  <a:gd name="T39" fmla="*/ 0 h 746"/>
                  <a:gd name="T40" fmla="*/ 0 w 1074"/>
                  <a:gd name="T41" fmla="*/ 0 h 746"/>
                  <a:gd name="T42" fmla="*/ 0 w 1074"/>
                  <a:gd name="T43" fmla="*/ 0 h 746"/>
                  <a:gd name="T44" fmla="*/ 0 w 1074"/>
                  <a:gd name="T45" fmla="*/ 0 h 746"/>
                  <a:gd name="T46" fmla="*/ 0 w 1074"/>
                  <a:gd name="T47" fmla="*/ 0 h 746"/>
                  <a:gd name="T48" fmla="*/ 0 w 1074"/>
                  <a:gd name="T49" fmla="*/ 0 h 746"/>
                  <a:gd name="T50" fmla="*/ 0 w 1074"/>
                  <a:gd name="T51" fmla="*/ 0 h 746"/>
                  <a:gd name="T52" fmla="*/ 0 w 1074"/>
                  <a:gd name="T53" fmla="*/ 0 h 746"/>
                  <a:gd name="T54" fmla="*/ 0 w 1074"/>
                  <a:gd name="T55" fmla="*/ 0 h 746"/>
                  <a:gd name="T56" fmla="*/ 0 w 1074"/>
                  <a:gd name="T57" fmla="*/ 0 h 746"/>
                  <a:gd name="T58" fmla="*/ 0 w 1074"/>
                  <a:gd name="T59" fmla="*/ 0 h 746"/>
                  <a:gd name="T60" fmla="*/ 0 w 1074"/>
                  <a:gd name="T61" fmla="*/ 0 h 746"/>
                  <a:gd name="T62" fmla="*/ 0 w 1074"/>
                  <a:gd name="T63" fmla="*/ 0 h 746"/>
                  <a:gd name="T64" fmla="*/ 0 w 1074"/>
                  <a:gd name="T65" fmla="*/ 0 h 746"/>
                  <a:gd name="T66" fmla="*/ 0 w 1074"/>
                  <a:gd name="T67" fmla="*/ 0 h 746"/>
                  <a:gd name="T68" fmla="*/ 0 w 1074"/>
                  <a:gd name="T69" fmla="*/ 0 h 746"/>
                  <a:gd name="T70" fmla="*/ 0 w 1074"/>
                  <a:gd name="T71" fmla="*/ 0 h 7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4"/>
                  <a:gd name="T109" fmla="*/ 0 h 746"/>
                  <a:gd name="T110" fmla="*/ 1074 w 1074"/>
                  <a:gd name="T111" fmla="*/ 746 h 7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4" h="746">
                    <a:moveTo>
                      <a:pt x="1030" y="0"/>
                    </a:moveTo>
                    <a:lnTo>
                      <a:pt x="1040" y="0"/>
                    </a:lnTo>
                    <a:lnTo>
                      <a:pt x="1051" y="4"/>
                    </a:lnTo>
                    <a:lnTo>
                      <a:pt x="1060" y="10"/>
                    </a:lnTo>
                    <a:lnTo>
                      <a:pt x="1068" y="19"/>
                    </a:lnTo>
                    <a:lnTo>
                      <a:pt x="1073" y="28"/>
                    </a:lnTo>
                    <a:lnTo>
                      <a:pt x="1074" y="40"/>
                    </a:lnTo>
                    <a:lnTo>
                      <a:pt x="1074" y="96"/>
                    </a:lnTo>
                    <a:lnTo>
                      <a:pt x="1068" y="152"/>
                    </a:lnTo>
                    <a:lnTo>
                      <a:pt x="1057" y="207"/>
                    </a:lnTo>
                    <a:lnTo>
                      <a:pt x="1043" y="260"/>
                    </a:lnTo>
                    <a:lnTo>
                      <a:pt x="1023" y="313"/>
                    </a:lnTo>
                    <a:lnTo>
                      <a:pt x="1000" y="362"/>
                    </a:lnTo>
                    <a:lnTo>
                      <a:pt x="971" y="410"/>
                    </a:lnTo>
                    <a:lnTo>
                      <a:pt x="940" y="455"/>
                    </a:lnTo>
                    <a:lnTo>
                      <a:pt x="903" y="499"/>
                    </a:lnTo>
                    <a:lnTo>
                      <a:pt x="863" y="538"/>
                    </a:lnTo>
                    <a:lnTo>
                      <a:pt x="820" y="574"/>
                    </a:lnTo>
                    <a:lnTo>
                      <a:pt x="769" y="610"/>
                    </a:lnTo>
                    <a:lnTo>
                      <a:pt x="715" y="640"/>
                    </a:lnTo>
                    <a:lnTo>
                      <a:pt x="659" y="665"/>
                    </a:lnTo>
                    <a:lnTo>
                      <a:pt x="603" y="684"/>
                    </a:lnTo>
                    <a:lnTo>
                      <a:pt x="544" y="698"/>
                    </a:lnTo>
                    <a:lnTo>
                      <a:pt x="484" y="706"/>
                    </a:lnTo>
                    <a:lnTo>
                      <a:pt x="424" y="709"/>
                    </a:lnTo>
                    <a:lnTo>
                      <a:pt x="363" y="705"/>
                    </a:lnTo>
                    <a:lnTo>
                      <a:pt x="302" y="696"/>
                    </a:lnTo>
                    <a:lnTo>
                      <a:pt x="242" y="681"/>
                    </a:lnTo>
                    <a:lnTo>
                      <a:pt x="210" y="728"/>
                    </a:lnTo>
                    <a:lnTo>
                      <a:pt x="199" y="739"/>
                    </a:lnTo>
                    <a:lnTo>
                      <a:pt x="187" y="745"/>
                    </a:lnTo>
                    <a:lnTo>
                      <a:pt x="172" y="746"/>
                    </a:lnTo>
                    <a:lnTo>
                      <a:pt x="158" y="743"/>
                    </a:lnTo>
                    <a:lnTo>
                      <a:pt x="147" y="735"/>
                    </a:lnTo>
                    <a:lnTo>
                      <a:pt x="139" y="723"/>
                    </a:lnTo>
                    <a:lnTo>
                      <a:pt x="3" y="443"/>
                    </a:lnTo>
                    <a:lnTo>
                      <a:pt x="0" y="429"/>
                    </a:lnTo>
                    <a:lnTo>
                      <a:pt x="1" y="415"/>
                    </a:lnTo>
                    <a:lnTo>
                      <a:pt x="6" y="402"/>
                    </a:lnTo>
                    <a:lnTo>
                      <a:pt x="17" y="391"/>
                    </a:lnTo>
                    <a:lnTo>
                      <a:pt x="29" y="385"/>
                    </a:lnTo>
                    <a:lnTo>
                      <a:pt x="44" y="384"/>
                    </a:lnTo>
                    <a:lnTo>
                      <a:pt x="354" y="407"/>
                    </a:lnTo>
                    <a:lnTo>
                      <a:pt x="367" y="410"/>
                    </a:lnTo>
                    <a:lnTo>
                      <a:pt x="380" y="419"/>
                    </a:lnTo>
                    <a:lnTo>
                      <a:pt x="388" y="430"/>
                    </a:lnTo>
                    <a:lnTo>
                      <a:pt x="392" y="444"/>
                    </a:lnTo>
                    <a:lnTo>
                      <a:pt x="391" y="459"/>
                    </a:lnTo>
                    <a:lnTo>
                      <a:pt x="385" y="472"/>
                    </a:lnTo>
                    <a:lnTo>
                      <a:pt x="365" y="501"/>
                    </a:lnTo>
                    <a:lnTo>
                      <a:pt x="416" y="504"/>
                    </a:lnTo>
                    <a:lnTo>
                      <a:pt x="466" y="503"/>
                    </a:lnTo>
                    <a:lnTo>
                      <a:pt x="515" y="495"/>
                    </a:lnTo>
                    <a:lnTo>
                      <a:pt x="563" y="483"/>
                    </a:lnTo>
                    <a:lnTo>
                      <a:pt x="610" y="464"/>
                    </a:lnTo>
                    <a:lnTo>
                      <a:pt x="654" y="441"/>
                    </a:lnTo>
                    <a:lnTo>
                      <a:pt x="696" y="412"/>
                    </a:lnTo>
                    <a:lnTo>
                      <a:pt x="732" y="382"/>
                    </a:lnTo>
                    <a:lnTo>
                      <a:pt x="764" y="348"/>
                    </a:lnTo>
                    <a:lnTo>
                      <a:pt x="793" y="312"/>
                    </a:lnTo>
                    <a:lnTo>
                      <a:pt x="817" y="273"/>
                    </a:lnTo>
                    <a:lnTo>
                      <a:pt x="837" y="232"/>
                    </a:lnTo>
                    <a:lnTo>
                      <a:pt x="851" y="189"/>
                    </a:lnTo>
                    <a:lnTo>
                      <a:pt x="863" y="145"/>
                    </a:lnTo>
                    <a:lnTo>
                      <a:pt x="869" y="98"/>
                    </a:lnTo>
                    <a:lnTo>
                      <a:pt x="871" y="51"/>
                    </a:lnTo>
                    <a:lnTo>
                      <a:pt x="872" y="39"/>
                    </a:lnTo>
                    <a:lnTo>
                      <a:pt x="879" y="27"/>
                    </a:lnTo>
                    <a:lnTo>
                      <a:pt x="887" y="18"/>
                    </a:lnTo>
                    <a:lnTo>
                      <a:pt x="898" y="11"/>
                    </a:lnTo>
                    <a:lnTo>
                      <a:pt x="909" y="9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4" name="Freeform 20"/>
              <p:cNvSpPr>
                <a:spLocks/>
              </p:cNvSpPr>
              <p:nvPr/>
            </p:nvSpPr>
            <p:spPr bwMode="auto">
              <a:xfrm>
                <a:off x="1099" y="1088"/>
                <a:ext cx="80" cy="95"/>
              </a:xfrm>
              <a:custGeom>
                <a:avLst/>
                <a:gdLst>
                  <a:gd name="T0" fmla="*/ 0 w 873"/>
                  <a:gd name="T1" fmla="*/ 0 h 1046"/>
                  <a:gd name="T2" fmla="*/ 0 w 873"/>
                  <a:gd name="T3" fmla="*/ 0 h 1046"/>
                  <a:gd name="T4" fmla="*/ 0 w 873"/>
                  <a:gd name="T5" fmla="*/ 0 h 1046"/>
                  <a:gd name="T6" fmla="*/ 0 w 873"/>
                  <a:gd name="T7" fmla="*/ 0 h 1046"/>
                  <a:gd name="T8" fmla="*/ 0 w 873"/>
                  <a:gd name="T9" fmla="*/ 0 h 1046"/>
                  <a:gd name="T10" fmla="*/ 0 w 873"/>
                  <a:gd name="T11" fmla="*/ 0 h 1046"/>
                  <a:gd name="T12" fmla="*/ 0 w 873"/>
                  <a:gd name="T13" fmla="*/ 0 h 1046"/>
                  <a:gd name="T14" fmla="*/ 0 w 873"/>
                  <a:gd name="T15" fmla="*/ 0 h 1046"/>
                  <a:gd name="T16" fmla="*/ 0 w 873"/>
                  <a:gd name="T17" fmla="*/ 0 h 1046"/>
                  <a:gd name="T18" fmla="*/ 0 w 873"/>
                  <a:gd name="T19" fmla="*/ 0 h 1046"/>
                  <a:gd name="T20" fmla="*/ 0 w 873"/>
                  <a:gd name="T21" fmla="*/ 0 h 1046"/>
                  <a:gd name="T22" fmla="*/ 0 w 873"/>
                  <a:gd name="T23" fmla="*/ 0 h 1046"/>
                  <a:gd name="T24" fmla="*/ 0 w 873"/>
                  <a:gd name="T25" fmla="*/ 0 h 1046"/>
                  <a:gd name="T26" fmla="*/ 0 w 873"/>
                  <a:gd name="T27" fmla="*/ 0 h 1046"/>
                  <a:gd name="T28" fmla="*/ 0 w 873"/>
                  <a:gd name="T29" fmla="*/ 0 h 1046"/>
                  <a:gd name="T30" fmla="*/ 0 w 873"/>
                  <a:gd name="T31" fmla="*/ 0 h 1046"/>
                  <a:gd name="T32" fmla="*/ 0 w 873"/>
                  <a:gd name="T33" fmla="*/ 0 h 1046"/>
                  <a:gd name="T34" fmla="*/ 0 w 873"/>
                  <a:gd name="T35" fmla="*/ 0 h 1046"/>
                  <a:gd name="T36" fmla="*/ 0 w 873"/>
                  <a:gd name="T37" fmla="*/ 0 h 1046"/>
                  <a:gd name="T38" fmla="*/ 0 w 873"/>
                  <a:gd name="T39" fmla="*/ 0 h 1046"/>
                  <a:gd name="T40" fmla="*/ 0 w 873"/>
                  <a:gd name="T41" fmla="*/ 0 h 1046"/>
                  <a:gd name="T42" fmla="*/ 0 w 873"/>
                  <a:gd name="T43" fmla="*/ 0 h 1046"/>
                  <a:gd name="T44" fmla="*/ 0 w 873"/>
                  <a:gd name="T45" fmla="*/ 0 h 1046"/>
                  <a:gd name="T46" fmla="*/ 0 w 873"/>
                  <a:gd name="T47" fmla="*/ 0 h 1046"/>
                  <a:gd name="T48" fmla="*/ 0 w 873"/>
                  <a:gd name="T49" fmla="*/ 0 h 1046"/>
                  <a:gd name="T50" fmla="*/ 0 w 873"/>
                  <a:gd name="T51" fmla="*/ 0 h 1046"/>
                  <a:gd name="T52" fmla="*/ 0 w 873"/>
                  <a:gd name="T53" fmla="*/ 0 h 1046"/>
                  <a:gd name="T54" fmla="*/ 0 w 873"/>
                  <a:gd name="T55" fmla="*/ 0 h 1046"/>
                  <a:gd name="T56" fmla="*/ 0 w 873"/>
                  <a:gd name="T57" fmla="*/ 0 h 1046"/>
                  <a:gd name="T58" fmla="*/ 0 w 873"/>
                  <a:gd name="T59" fmla="*/ 0 h 1046"/>
                  <a:gd name="T60" fmla="*/ 0 w 873"/>
                  <a:gd name="T61" fmla="*/ 0 h 1046"/>
                  <a:gd name="T62" fmla="*/ 0 w 873"/>
                  <a:gd name="T63" fmla="*/ 0 h 1046"/>
                  <a:gd name="T64" fmla="*/ 0 w 873"/>
                  <a:gd name="T65" fmla="*/ 0 h 1046"/>
                  <a:gd name="T66" fmla="*/ 0 w 873"/>
                  <a:gd name="T67" fmla="*/ 0 h 1046"/>
                  <a:gd name="T68" fmla="*/ 0 w 873"/>
                  <a:gd name="T69" fmla="*/ 0 h 1046"/>
                  <a:gd name="T70" fmla="*/ 0 w 873"/>
                  <a:gd name="T71" fmla="*/ 0 h 1046"/>
                  <a:gd name="T72" fmla="*/ 0 w 873"/>
                  <a:gd name="T73" fmla="*/ 0 h 10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73"/>
                  <a:gd name="T112" fmla="*/ 0 h 1046"/>
                  <a:gd name="T113" fmla="*/ 873 w 873"/>
                  <a:gd name="T114" fmla="*/ 1046 h 10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73" h="1046">
                    <a:moveTo>
                      <a:pt x="436" y="0"/>
                    </a:moveTo>
                    <a:lnTo>
                      <a:pt x="493" y="2"/>
                    </a:lnTo>
                    <a:lnTo>
                      <a:pt x="544" y="8"/>
                    </a:lnTo>
                    <a:lnTo>
                      <a:pt x="592" y="18"/>
                    </a:lnTo>
                    <a:lnTo>
                      <a:pt x="638" y="31"/>
                    </a:lnTo>
                    <a:lnTo>
                      <a:pt x="678" y="49"/>
                    </a:lnTo>
                    <a:lnTo>
                      <a:pt x="715" y="70"/>
                    </a:lnTo>
                    <a:lnTo>
                      <a:pt x="748" y="95"/>
                    </a:lnTo>
                    <a:lnTo>
                      <a:pt x="777" y="123"/>
                    </a:lnTo>
                    <a:lnTo>
                      <a:pt x="802" y="156"/>
                    </a:lnTo>
                    <a:lnTo>
                      <a:pt x="823" y="192"/>
                    </a:lnTo>
                    <a:lnTo>
                      <a:pt x="841" y="232"/>
                    </a:lnTo>
                    <a:lnTo>
                      <a:pt x="855" y="276"/>
                    </a:lnTo>
                    <a:lnTo>
                      <a:pt x="864" y="324"/>
                    </a:lnTo>
                    <a:lnTo>
                      <a:pt x="871" y="374"/>
                    </a:lnTo>
                    <a:lnTo>
                      <a:pt x="873" y="429"/>
                    </a:lnTo>
                    <a:lnTo>
                      <a:pt x="871" y="495"/>
                    </a:lnTo>
                    <a:lnTo>
                      <a:pt x="867" y="556"/>
                    </a:lnTo>
                    <a:lnTo>
                      <a:pt x="859" y="611"/>
                    </a:lnTo>
                    <a:lnTo>
                      <a:pt x="849" y="663"/>
                    </a:lnTo>
                    <a:lnTo>
                      <a:pt x="836" y="711"/>
                    </a:lnTo>
                    <a:lnTo>
                      <a:pt x="821" y="754"/>
                    </a:lnTo>
                    <a:lnTo>
                      <a:pt x="805" y="793"/>
                    </a:lnTo>
                    <a:lnTo>
                      <a:pt x="787" y="829"/>
                    </a:lnTo>
                    <a:lnTo>
                      <a:pt x="767" y="861"/>
                    </a:lnTo>
                    <a:lnTo>
                      <a:pt x="746" y="891"/>
                    </a:lnTo>
                    <a:lnTo>
                      <a:pt x="724" y="916"/>
                    </a:lnTo>
                    <a:lnTo>
                      <a:pt x="701" y="939"/>
                    </a:lnTo>
                    <a:lnTo>
                      <a:pt x="678" y="959"/>
                    </a:lnTo>
                    <a:lnTo>
                      <a:pt x="654" y="976"/>
                    </a:lnTo>
                    <a:lnTo>
                      <a:pt x="631" y="990"/>
                    </a:lnTo>
                    <a:lnTo>
                      <a:pt x="608" y="1003"/>
                    </a:lnTo>
                    <a:lnTo>
                      <a:pt x="585" y="1014"/>
                    </a:lnTo>
                    <a:lnTo>
                      <a:pt x="564" y="1023"/>
                    </a:lnTo>
                    <a:lnTo>
                      <a:pt x="543" y="1029"/>
                    </a:lnTo>
                    <a:lnTo>
                      <a:pt x="523" y="1036"/>
                    </a:lnTo>
                    <a:lnTo>
                      <a:pt x="504" y="1040"/>
                    </a:lnTo>
                    <a:lnTo>
                      <a:pt x="489" y="1042"/>
                    </a:lnTo>
                    <a:lnTo>
                      <a:pt x="473" y="1044"/>
                    </a:lnTo>
                    <a:lnTo>
                      <a:pt x="460" y="1046"/>
                    </a:lnTo>
                    <a:lnTo>
                      <a:pt x="451" y="1046"/>
                    </a:lnTo>
                    <a:lnTo>
                      <a:pt x="443" y="1046"/>
                    </a:lnTo>
                    <a:lnTo>
                      <a:pt x="438" y="1046"/>
                    </a:lnTo>
                    <a:lnTo>
                      <a:pt x="436" y="1046"/>
                    </a:lnTo>
                    <a:lnTo>
                      <a:pt x="388" y="1044"/>
                    </a:lnTo>
                    <a:lnTo>
                      <a:pt x="340" y="1037"/>
                    </a:lnTo>
                    <a:lnTo>
                      <a:pt x="297" y="1024"/>
                    </a:lnTo>
                    <a:lnTo>
                      <a:pt x="255" y="1006"/>
                    </a:lnTo>
                    <a:lnTo>
                      <a:pt x="218" y="983"/>
                    </a:lnTo>
                    <a:lnTo>
                      <a:pt x="182" y="955"/>
                    </a:lnTo>
                    <a:lnTo>
                      <a:pt x="149" y="922"/>
                    </a:lnTo>
                    <a:lnTo>
                      <a:pt x="119" y="884"/>
                    </a:lnTo>
                    <a:lnTo>
                      <a:pt x="93" y="842"/>
                    </a:lnTo>
                    <a:lnTo>
                      <a:pt x="70" y="795"/>
                    </a:lnTo>
                    <a:lnTo>
                      <a:pt x="50" y="745"/>
                    </a:lnTo>
                    <a:lnTo>
                      <a:pt x="32" y="689"/>
                    </a:lnTo>
                    <a:lnTo>
                      <a:pt x="19" y="630"/>
                    </a:lnTo>
                    <a:lnTo>
                      <a:pt x="9" y="567"/>
                    </a:lnTo>
                    <a:lnTo>
                      <a:pt x="2" y="500"/>
                    </a:lnTo>
                    <a:lnTo>
                      <a:pt x="0" y="429"/>
                    </a:lnTo>
                    <a:lnTo>
                      <a:pt x="1" y="374"/>
                    </a:lnTo>
                    <a:lnTo>
                      <a:pt x="8" y="324"/>
                    </a:lnTo>
                    <a:lnTo>
                      <a:pt x="17" y="276"/>
                    </a:lnTo>
                    <a:lnTo>
                      <a:pt x="31" y="232"/>
                    </a:lnTo>
                    <a:lnTo>
                      <a:pt x="49" y="192"/>
                    </a:lnTo>
                    <a:lnTo>
                      <a:pt x="71" y="156"/>
                    </a:lnTo>
                    <a:lnTo>
                      <a:pt x="97" y="123"/>
                    </a:lnTo>
                    <a:lnTo>
                      <a:pt x="126" y="95"/>
                    </a:lnTo>
                    <a:lnTo>
                      <a:pt x="160" y="70"/>
                    </a:lnTo>
                    <a:lnTo>
                      <a:pt x="197" y="49"/>
                    </a:lnTo>
                    <a:lnTo>
                      <a:pt x="238" y="31"/>
                    </a:lnTo>
                    <a:lnTo>
                      <a:pt x="283" y="18"/>
                    </a:lnTo>
                    <a:lnTo>
                      <a:pt x="330" y="8"/>
                    </a:lnTo>
                    <a:lnTo>
                      <a:pt x="381" y="2"/>
                    </a:lnTo>
                    <a:lnTo>
                      <a:pt x="43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5" name="Freeform 21"/>
              <p:cNvSpPr>
                <a:spLocks/>
              </p:cNvSpPr>
              <p:nvPr/>
            </p:nvSpPr>
            <p:spPr bwMode="auto">
              <a:xfrm>
                <a:off x="1055" y="1185"/>
                <a:ext cx="168" cy="79"/>
              </a:xfrm>
              <a:custGeom>
                <a:avLst/>
                <a:gdLst>
                  <a:gd name="T0" fmla="*/ 0 w 1849"/>
                  <a:gd name="T1" fmla="*/ 0 h 875"/>
                  <a:gd name="T2" fmla="*/ 0 w 1849"/>
                  <a:gd name="T3" fmla="*/ 0 h 875"/>
                  <a:gd name="T4" fmla="*/ 0 w 1849"/>
                  <a:gd name="T5" fmla="*/ 0 h 875"/>
                  <a:gd name="T6" fmla="*/ 0 w 1849"/>
                  <a:gd name="T7" fmla="*/ 0 h 875"/>
                  <a:gd name="T8" fmla="*/ 0 w 1849"/>
                  <a:gd name="T9" fmla="*/ 0 h 875"/>
                  <a:gd name="T10" fmla="*/ 0 w 1849"/>
                  <a:gd name="T11" fmla="*/ 0 h 875"/>
                  <a:gd name="T12" fmla="*/ 0 w 1849"/>
                  <a:gd name="T13" fmla="*/ 0 h 875"/>
                  <a:gd name="T14" fmla="*/ 0 w 1849"/>
                  <a:gd name="T15" fmla="*/ 0 h 875"/>
                  <a:gd name="T16" fmla="*/ 0 w 1849"/>
                  <a:gd name="T17" fmla="*/ 0 h 875"/>
                  <a:gd name="T18" fmla="*/ 0 w 1849"/>
                  <a:gd name="T19" fmla="*/ 0 h 875"/>
                  <a:gd name="T20" fmla="*/ 0 w 1849"/>
                  <a:gd name="T21" fmla="*/ 0 h 875"/>
                  <a:gd name="T22" fmla="*/ 0 w 1849"/>
                  <a:gd name="T23" fmla="*/ 0 h 875"/>
                  <a:gd name="T24" fmla="*/ 0 w 1849"/>
                  <a:gd name="T25" fmla="*/ 0 h 875"/>
                  <a:gd name="T26" fmla="*/ 0 w 1849"/>
                  <a:gd name="T27" fmla="*/ 0 h 875"/>
                  <a:gd name="T28" fmla="*/ 0 w 1849"/>
                  <a:gd name="T29" fmla="*/ 0 h 875"/>
                  <a:gd name="T30" fmla="*/ 0 w 1849"/>
                  <a:gd name="T31" fmla="*/ 0 h 875"/>
                  <a:gd name="T32" fmla="*/ 0 w 1849"/>
                  <a:gd name="T33" fmla="*/ 0 h 875"/>
                  <a:gd name="T34" fmla="*/ 0 w 1849"/>
                  <a:gd name="T35" fmla="*/ 0 h 875"/>
                  <a:gd name="T36" fmla="*/ 0 w 1849"/>
                  <a:gd name="T37" fmla="*/ 0 h 875"/>
                  <a:gd name="T38" fmla="*/ 0 w 1849"/>
                  <a:gd name="T39" fmla="*/ 0 h 875"/>
                  <a:gd name="T40" fmla="*/ 0 w 1849"/>
                  <a:gd name="T41" fmla="*/ 0 h 875"/>
                  <a:gd name="T42" fmla="*/ 0 w 1849"/>
                  <a:gd name="T43" fmla="*/ 0 h 875"/>
                  <a:gd name="T44" fmla="*/ 0 w 1849"/>
                  <a:gd name="T45" fmla="*/ 0 h 875"/>
                  <a:gd name="T46" fmla="*/ 0 w 1849"/>
                  <a:gd name="T47" fmla="*/ 0 h 875"/>
                  <a:gd name="T48" fmla="*/ 0 w 1849"/>
                  <a:gd name="T49" fmla="*/ 0 h 875"/>
                  <a:gd name="T50" fmla="*/ 0 w 1849"/>
                  <a:gd name="T51" fmla="*/ 0 h 875"/>
                  <a:gd name="T52" fmla="*/ 0 w 1849"/>
                  <a:gd name="T53" fmla="*/ 0 h 875"/>
                  <a:gd name="T54" fmla="*/ 0 w 1849"/>
                  <a:gd name="T55" fmla="*/ 0 h 875"/>
                  <a:gd name="T56" fmla="*/ 0 w 1849"/>
                  <a:gd name="T57" fmla="*/ 0 h 875"/>
                  <a:gd name="T58" fmla="*/ 0 w 1849"/>
                  <a:gd name="T59" fmla="*/ 0 h 875"/>
                  <a:gd name="T60" fmla="*/ 0 w 1849"/>
                  <a:gd name="T61" fmla="*/ 0 h 875"/>
                  <a:gd name="T62" fmla="*/ 0 w 1849"/>
                  <a:gd name="T63" fmla="*/ 0 h 875"/>
                  <a:gd name="T64" fmla="*/ 0 w 1849"/>
                  <a:gd name="T65" fmla="*/ 0 h 875"/>
                  <a:gd name="T66" fmla="*/ 0 w 1849"/>
                  <a:gd name="T67" fmla="*/ 0 h 875"/>
                  <a:gd name="T68" fmla="*/ 0 w 1849"/>
                  <a:gd name="T69" fmla="*/ 0 h 875"/>
                  <a:gd name="T70" fmla="*/ 0 w 1849"/>
                  <a:gd name="T71" fmla="*/ 0 h 875"/>
                  <a:gd name="T72" fmla="*/ 0 w 1849"/>
                  <a:gd name="T73" fmla="*/ 0 h 875"/>
                  <a:gd name="T74" fmla="*/ 0 w 1849"/>
                  <a:gd name="T75" fmla="*/ 0 h 875"/>
                  <a:gd name="T76" fmla="*/ 0 w 1849"/>
                  <a:gd name="T77" fmla="*/ 0 h 875"/>
                  <a:gd name="T78" fmla="*/ 0 w 1849"/>
                  <a:gd name="T79" fmla="*/ 0 h 875"/>
                  <a:gd name="T80" fmla="*/ 0 w 1849"/>
                  <a:gd name="T81" fmla="*/ 0 h 875"/>
                  <a:gd name="T82" fmla="*/ 0 w 1849"/>
                  <a:gd name="T83" fmla="*/ 0 h 875"/>
                  <a:gd name="T84" fmla="*/ 0 w 1849"/>
                  <a:gd name="T85" fmla="*/ 0 h 875"/>
                  <a:gd name="T86" fmla="*/ 0 w 1849"/>
                  <a:gd name="T87" fmla="*/ 0 h 875"/>
                  <a:gd name="T88" fmla="*/ 0 w 1849"/>
                  <a:gd name="T89" fmla="*/ 0 h 875"/>
                  <a:gd name="T90" fmla="*/ 0 w 1849"/>
                  <a:gd name="T91" fmla="*/ 0 h 875"/>
                  <a:gd name="T92" fmla="*/ 0 w 1849"/>
                  <a:gd name="T93" fmla="*/ 0 h 875"/>
                  <a:gd name="T94" fmla="*/ 0 w 1849"/>
                  <a:gd name="T95" fmla="*/ 0 h 875"/>
                  <a:gd name="T96" fmla="*/ 0 w 1849"/>
                  <a:gd name="T97" fmla="*/ 0 h 875"/>
                  <a:gd name="T98" fmla="*/ 0 w 1849"/>
                  <a:gd name="T99" fmla="*/ 0 h 875"/>
                  <a:gd name="T100" fmla="*/ 0 w 1849"/>
                  <a:gd name="T101" fmla="*/ 0 h 875"/>
                  <a:gd name="T102" fmla="*/ 0 w 1849"/>
                  <a:gd name="T103" fmla="*/ 0 h 875"/>
                  <a:gd name="T104" fmla="*/ 0 w 1849"/>
                  <a:gd name="T105" fmla="*/ 0 h 875"/>
                  <a:gd name="T106" fmla="*/ 0 w 1849"/>
                  <a:gd name="T107" fmla="*/ 0 h 875"/>
                  <a:gd name="T108" fmla="*/ 0 w 1849"/>
                  <a:gd name="T109" fmla="*/ 0 h 875"/>
                  <a:gd name="T110" fmla="*/ 0 w 1849"/>
                  <a:gd name="T111" fmla="*/ 0 h 875"/>
                  <a:gd name="T112" fmla="*/ 0 w 1849"/>
                  <a:gd name="T113" fmla="*/ 0 h 875"/>
                  <a:gd name="T114" fmla="*/ 0 w 1849"/>
                  <a:gd name="T115" fmla="*/ 0 h 875"/>
                  <a:gd name="T116" fmla="*/ 0 w 1849"/>
                  <a:gd name="T117" fmla="*/ 0 h 875"/>
                  <a:gd name="T118" fmla="*/ 0 w 1849"/>
                  <a:gd name="T119" fmla="*/ 0 h 875"/>
                  <a:gd name="T120" fmla="*/ 0 w 1849"/>
                  <a:gd name="T121" fmla="*/ 0 h 875"/>
                  <a:gd name="T122" fmla="*/ 0 w 1849"/>
                  <a:gd name="T123" fmla="*/ 0 h 8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49"/>
                  <a:gd name="T187" fmla="*/ 0 h 875"/>
                  <a:gd name="T188" fmla="*/ 1849 w 1849"/>
                  <a:gd name="T189" fmla="*/ 875 h 8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49" h="875">
                    <a:moveTo>
                      <a:pt x="1112" y="0"/>
                    </a:moveTo>
                    <a:lnTo>
                      <a:pt x="1128" y="2"/>
                    </a:lnTo>
                    <a:lnTo>
                      <a:pt x="1143" y="7"/>
                    </a:lnTo>
                    <a:lnTo>
                      <a:pt x="1158" y="16"/>
                    </a:lnTo>
                    <a:lnTo>
                      <a:pt x="1260" y="102"/>
                    </a:lnTo>
                    <a:lnTo>
                      <a:pt x="1696" y="276"/>
                    </a:lnTo>
                    <a:lnTo>
                      <a:pt x="1716" y="287"/>
                    </a:lnTo>
                    <a:lnTo>
                      <a:pt x="1733" y="303"/>
                    </a:lnTo>
                    <a:lnTo>
                      <a:pt x="1748" y="324"/>
                    </a:lnTo>
                    <a:lnTo>
                      <a:pt x="1762" y="350"/>
                    </a:lnTo>
                    <a:lnTo>
                      <a:pt x="1775" y="379"/>
                    </a:lnTo>
                    <a:lnTo>
                      <a:pt x="1786" y="412"/>
                    </a:lnTo>
                    <a:lnTo>
                      <a:pt x="1796" y="446"/>
                    </a:lnTo>
                    <a:lnTo>
                      <a:pt x="1804" y="483"/>
                    </a:lnTo>
                    <a:lnTo>
                      <a:pt x="1811" y="521"/>
                    </a:lnTo>
                    <a:lnTo>
                      <a:pt x="1818" y="560"/>
                    </a:lnTo>
                    <a:lnTo>
                      <a:pt x="1823" y="598"/>
                    </a:lnTo>
                    <a:lnTo>
                      <a:pt x="1828" y="637"/>
                    </a:lnTo>
                    <a:lnTo>
                      <a:pt x="1832" y="675"/>
                    </a:lnTo>
                    <a:lnTo>
                      <a:pt x="1835" y="712"/>
                    </a:lnTo>
                    <a:lnTo>
                      <a:pt x="1838" y="745"/>
                    </a:lnTo>
                    <a:lnTo>
                      <a:pt x="1840" y="778"/>
                    </a:lnTo>
                    <a:lnTo>
                      <a:pt x="1842" y="805"/>
                    </a:lnTo>
                    <a:lnTo>
                      <a:pt x="1844" y="830"/>
                    </a:lnTo>
                    <a:lnTo>
                      <a:pt x="1846" y="850"/>
                    </a:lnTo>
                    <a:lnTo>
                      <a:pt x="1847" y="865"/>
                    </a:lnTo>
                    <a:lnTo>
                      <a:pt x="1849" y="875"/>
                    </a:lnTo>
                    <a:lnTo>
                      <a:pt x="0" y="875"/>
                    </a:lnTo>
                    <a:lnTo>
                      <a:pt x="2" y="865"/>
                    </a:lnTo>
                    <a:lnTo>
                      <a:pt x="3" y="850"/>
                    </a:lnTo>
                    <a:lnTo>
                      <a:pt x="5" y="830"/>
                    </a:lnTo>
                    <a:lnTo>
                      <a:pt x="6" y="805"/>
                    </a:lnTo>
                    <a:lnTo>
                      <a:pt x="8" y="777"/>
                    </a:lnTo>
                    <a:lnTo>
                      <a:pt x="11" y="745"/>
                    </a:lnTo>
                    <a:lnTo>
                      <a:pt x="14" y="712"/>
                    </a:lnTo>
                    <a:lnTo>
                      <a:pt x="17" y="675"/>
                    </a:lnTo>
                    <a:lnTo>
                      <a:pt x="21" y="637"/>
                    </a:lnTo>
                    <a:lnTo>
                      <a:pt x="25" y="598"/>
                    </a:lnTo>
                    <a:lnTo>
                      <a:pt x="30" y="560"/>
                    </a:lnTo>
                    <a:lnTo>
                      <a:pt x="37" y="521"/>
                    </a:lnTo>
                    <a:lnTo>
                      <a:pt x="44" y="483"/>
                    </a:lnTo>
                    <a:lnTo>
                      <a:pt x="54" y="446"/>
                    </a:lnTo>
                    <a:lnTo>
                      <a:pt x="63" y="412"/>
                    </a:lnTo>
                    <a:lnTo>
                      <a:pt x="74" y="379"/>
                    </a:lnTo>
                    <a:lnTo>
                      <a:pt x="86" y="350"/>
                    </a:lnTo>
                    <a:lnTo>
                      <a:pt x="101" y="324"/>
                    </a:lnTo>
                    <a:lnTo>
                      <a:pt x="116" y="303"/>
                    </a:lnTo>
                    <a:lnTo>
                      <a:pt x="133" y="287"/>
                    </a:lnTo>
                    <a:lnTo>
                      <a:pt x="152" y="276"/>
                    </a:lnTo>
                    <a:lnTo>
                      <a:pt x="588" y="102"/>
                    </a:lnTo>
                    <a:lnTo>
                      <a:pt x="690" y="16"/>
                    </a:lnTo>
                    <a:lnTo>
                      <a:pt x="705" y="7"/>
                    </a:lnTo>
                    <a:lnTo>
                      <a:pt x="720" y="2"/>
                    </a:lnTo>
                    <a:lnTo>
                      <a:pt x="737" y="0"/>
                    </a:lnTo>
                    <a:lnTo>
                      <a:pt x="753" y="3"/>
                    </a:lnTo>
                    <a:lnTo>
                      <a:pt x="769" y="9"/>
                    </a:lnTo>
                    <a:lnTo>
                      <a:pt x="782" y="20"/>
                    </a:lnTo>
                    <a:lnTo>
                      <a:pt x="924" y="161"/>
                    </a:lnTo>
                    <a:lnTo>
                      <a:pt x="1067" y="20"/>
                    </a:lnTo>
                    <a:lnTo>
                      <a:pt x="1080" y="9"/>
                    </a:lnTo>
                    <a:lnTo>
                      <a:pt x="1095" y="3"/>
                    </a:lnTo>
                    <a:lnTo>
                      <a:pt x="111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</p:grpSp>
        <p:sp>
          <p:nvSpPr>
            <p:cNvPr id="13331" name="Freeform 63"/>
            <p:cNvSpPr>
              <a:spLocks noChangeAspect="1" noEditPoints="1"/>
            </p:cNvSpPr>
            <p:nvPr/>
          </p:nvSpPr>
          <p:spPr bwMode="auto">
            <a:xfrm>
              <a:off x="1568624" y="1675544"/>
              <a:ext cx="320235" cy="324309"/>
            </a:xfrm>
            <a:custGeom>
              <a:avLst/>
              <a:gdLst>
                <a:gd name="T0" fmla="*/ 2147483647 w 3929"/>
                <a:gd name="T1" fmla="*/ 2147483647 h 3980"/>
                <a:gd name="T2" fmla="*/ 2147483647 w 3929"/>
                <a:gd name="T3" fmla="*/ 2147483647 h 3980"/>
                <a:gd name="T4" fmla="*/ 2147483647 w 3929"/>
                <a:gd name="T5" fmla="*/ 2147483647 h 3980"/>
                <a:gd name="T6" fmla="*/ 2147483647 w 3929"/>
                <a:gd name="T7" fmla="*/ 2147483647 h 3980"/>
                <a:gd name="T8" fmla="*/ 2147483647 w 3929"/>
                <a:gd name="T9" fmla="*/ 2147483647 h 3980"/>
                <a:gd name="T10" fmla="*/ 2147483647 w 3929"/>
                <a:gd name="T11" fmla="*/ 2147483647 h 3980"/>
                <a:gd name="T12" fmla="*/ 2147483647 w 3929"/>
                <a:gd name="T13" fmla="*/ 2147483647 h 3980"/>
                <a:gd name="T14" fmla="*/ 2147483647 w 3929"/>
                <a:gd name="T15" fmla="*/ 2147483647 h 3980"/>
                <a:gd name="T16" fmla="*/ 2147483647 w 3929"/>
                <a:gd name="T17" fmla="*/ 2147483647 h 3980"/>
                <a:gd name="T18" fmla="*/ 2147483647 w 3929"/>
                <a:gd name="T19" fmla="*/ 2147483647 h 3980"/>
                <a:gd name="T20" fmla="*/ 2147483647 w 3929"/>
                <a:gd name="T21" fmla="*/ 2147483647 h 3980"/>
                <a:gd name="T22" fmla="*/ 2147483647 w 3929"/>
                <a:gd name="T23" fmla="*/ 2147483647 h 3980"/>
                <a:gd name="T24" fmla="*/ 2147483647 w 3929"/>
                <a:gd name="T25" fmla="*/ 2147483647 h 3980"/>
                <a:gd name="T26" fmla="*/ 2147483647 w 3929"/>
                <a:gd name="T27" fmla="*/ 2147483647 h 3980"/>
                <a:gd name="T28" fmla="*/ 2147483647 w 3929"/>
                <a:gd name="T29" fmla="*/ 2147483647 h 3980"/>
                <a:gd name="T30" fmla="*/ 2147483647 w 3929"/>
                <a:gd name="T31" fmla="*/ 2147483647 h 3980"/>
                <a:gd name="T32" fmla="*/ 2147483647 w 3929"/>
                <a:gd name="T33" fmla="*/ 2147483647 h 3980"/>
                <a:gd name="T34" fmla="*/ 2147483647 w 3929"/>
                <a:gd name="T35" fmla="*/ 2147483647 h 3980"/>
                <a:gd name="T36" fmla="*/ 2147483647 w 3929"/>
                <a:gd name="T37" fmla="*/ 2147483647 h 3980"/>
                <a:gd name="T38" fmla="*/ 2147483647 w 3929"/>
                <a:gd name="T39" fmla="*/ 2147483647 h 3980"/>
                <a:gd name="T40" fmla="*/ 2147483647 w 3929"/>
                <a:gd name="T41" fmla="*/ 2147483647 h 3980"/>
                <a:gd name="T42" fmla="*/ 2147483647 w 3929"/>
                <a:gd name="T43" fmla="*/ 2147483647 h 3980"/>
                <a:gd name="T44" fmla="*/ 2147483647 w 3929"/>
                <a:gd name="T45" fmla="*/ 2147483647 h 3980"/>
                <a:gd name="T46" fmla="*/ 2147483647 w 3929"/>
                <a:gd name="T47" fmla="*/ 2147483647 h 3980"/>
                <a:gd name="T48" fmla="*/ 2147483647 w 3929"/>
                <a:gd name="T49" fmla="*/ 2147483647 h 3980"/>
                <a:gd name="T50" fmla="*/ 2147483647 w 3929"/>
                <a:gd name="T51" fmla="*/ 2147483647 h 3980"/>
                <a:gd name="T52" fmla="*/ 2147483647 w 3929"/>
                <a:gd name="T53" fmla="*/ 2147483647 h 3980"/>
                <a:gd name="T54" fmla="*/ 2147483647 w 3929"/>
                <a:gd name="T55" fmla="*/ 2147483647 h 3980"/>
                <a:gd name="T56" fmla="*/ 2147483647 w 3929"/>
                <a:gd name="T57" fmla="*/ 2147483647 h 3980"/>
                <a:gd name="T58" fmla="*/ 2147483647 w 3929"/>
                <a:gd name="T59" fmla="*/ 2147483647 h 3980"/>
                <a:gd name="T60" fmla="*/ 2147483647 w 3929"/>
                <a:gd name="T61" fmla="*/ 2147483647 h 3980"/>
                <a:gd name="T62" fmla="*/ 2147483647 w 3929"/>
                <a:gd name="T63" fmla="*/ 2147483647 h 3980"/>
                <a:gd name="T64" fmla="*/ 2147483647 w 3929"/>
                <a:gd name="T65" fmla="*/ 2147483647 h 3980"/>
                <a:gd name="T66" fmla="*/ 2147483647 w 3929"/>
                <a:gd name="T67" fmla="*/ 2147483647 h 3980"/>
                <a:gd name="T68" fmla="*/ 2147483647 w 3929"/>
                <a:gd name="T69" fmla="*/ 2147483647 h 3980"/>
                <a:gd name="T70" fmla="*/ 2147483647 w 3929"/>
                <a:gd name="T71" fmla="*/ 2147483647 h 3980"/>
                <a:gd name="T72" fmla="*/ 2147483647 w 3929"/>
                <a:gd name="T73" fmla="*/ 2147483647 h 3980"/>
                <a:gd name="T74" fmla="*/ 2147483647 w 3929"/>
                <a:gd name="T75" fmla="*/ 2147483647 h 3980"/>
                <a:gd name="T76" fmla="*/ 2147483647 w 3929"/>
                <a:gd name="T77" fmla="*/ 2147483647 h 3980"/>
                <a:gd name="T78" fmla="*/ 2147483647 w 3929"/>
                <a:gd name="T79" fmla="*/ 2147483647 h 3980"/>
                <a:gd name="T80" fmla="*/ 2147483647 w 3929"/>
                <a:gd name="T81" fmla="*/ 2147483647 h 3980"/>
                <a:gd name="T82" fmla="*/ 2147483647 w 3929"/>
                <a:gd name="T83" fmla="*/ 2147483647 h 3980"/>
                <a:gd name="T84" fmla="*/ 2147483647 w 3929"/>
                <a:gd name="T85" fmla="*/ 2147483647 h 3980"/>
                <a:gd name="T86" fmla="*/ 2147483647 w 3929"/>
                <a:gd name="T87" fmla="*/ 2147483647 h 3980"/>
                <a:gd name="T88" fmla="*/ 2147483647 w 3929"/>
                <a:gd name="T89" fmla="*/ 2147483647 h 3980"/>
                <a:gd name="T90" fmla="*/ 2147483647 w 3929"/>
                <a:gd name="T91" fmla="*/ 2147483647 h 3980"/>
                <a:gd name="T92" fmla="*/ 2147483647 w 3929"/>
                <a:gd name="T93" fmla="*/ 2147483647 h 3980"/>
                <a:gd name="T94" fmla="*/ 2147483647 w 3929"/>
                <a:gd name="T95" fmla="*/ 2147483647 h 3980"/>
                <a:gd name="T96" fmla="*/ 2147483647 w 3929"/>
                <a:gd name="T97" fmla="*/ 2147483647 h 3980"/>
                <a:gd name="T98" fmla="*/ 2147483647 w 3929"/>
                <a:gd name="T99" fmla="*/ 2147483647 h 3980"/>
                <a:gd name="T100" fmla="*/ 2147483647 w 3929"/>
                <a:gd name="T101" fmla="*/ 2147483647 h 3980"/>
                <a:gd name="T102" fmla="*/ 2147483647 w 3929"/>
                <a:gd name="T103" fmla="*/ 2147483647 h 3980"/>
                <a:gd name="T104" fmla="*/ 2147483647 w 3929"/>
                <a:gd name="T105" fmla="*/ 2147483647 h 3980"/>
                <a:gd name="T106" fmla="*/ 2147483647 w 3929"/>
                <a:gd name="T107" fmla="*/ 2147483647 h 3980"/>
                <a:gd name="T108" fmla="*/ 2147483647 w 3929"/>
                <a:gd name="T109" fmla="*/ 2147483647 h 3980"/>
                <a:gd name="T110" fmla="*/ 2147483647 w 3929"/>
                <a:gd name="T111" fmla="*/ 2147483647 h 3980"/>
                <a:gd name="T112" fmla="*/ 2147483647 w 3929"/>
                <a:gd name="T113" fmla="*/ 2147483647 h 3980"/>
                <a:gd name="T114" fmla="*/ 2147483647 w 3929"/>
                <a:gd name="T115" fmla="*/ 2147483647 h 3980"/>
                <a:gd name="T116" fmla="*/ 2147483647 w 3929"/>
                <a:gd name="T117" fmla="*/ 2147483647 h 3980"/>
                <a:gd name="T118" fmla="*/ 2147483647 w 3929"/>
                <a:gd name="T119" fmla="*/ 2147483647 h 3980"/>
                <a:gd name="T120" fmla="*/ 2147483647 w 3929"/>
                <a:gd name="T121" fmla="*/ 2147483647 h 3980"/>
                <a:gd name="T122" fmla="*/ 2147483647 w 3929"/>
                <a:gd name="T123" fmla="*/ 2147483647 h 39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29"/>
                <a:gd name="T187" fmla="*/ 0 h 3980"/>
                <a:gd name="T188" fmla="*/ 3929 w 3929"/>
                <a:gd name="T189" fmla="*/ 3980 h 39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29" h="3980">
                  <a:moveTo>
                    <a:pt x="2009" y="1404"/>
                  </a:moveTo>
                  <a:lnTo>
                    <a:pt x="1963" y="1407"/>
                  </a:lnTo>
                  <a:lnTo>
                    <a:pt x="1919" y="1414"/>
                  </a:lnTo>
                  <a:lnTo>
                    <a:pt x="1878" y="1426"/>
                  </a:lnTo>
                  <a:lnTo>
                    <a:pt x="1839" y="1444"/>
                  </a:lnTo>
                  <a:lnTo>
                    <a:pt x="1801" y="1466"/>
                  </a:lnTo>
                  <a:lnTo>
                    <a:pt x="1753" y="1501"/>
                  </a:lnTo>
                  <a:lnTo>
                    <a:pt x="1709" y="1543"/>
                  </a:lnTo>
                  <a:lnTo>
                    <a:pt x="1669" y="1588"/>
                  </a:lnTo>
                  <a:lnTo>
                    <a:pt x="1632" y="1639"/>
                  </a:lnTo>
                  <a:lnTo>
                    <a:pt x="1598" y="1694"/>
                  </a:lnTo>
                  <a:lnTo>
                    <a:pt x="1569" y="1754"/>
                  </a:lnTo>
                  <a:lnTo>
                    <a:pt x="1544" y="1817"/>
                  </a:lnTo>
                  <a:lnTo>
                    <a:pt x="1523" y="1883"/>
                  </a:lnTo>
                  <a:lnTo>
                    <a:pt x="1506" y="1952"/>
                  </a:lnTo>
                  <a:lnTo>
                    <a:pt x="1494" y="2020"/>
                  </a:lnTo>
                  <a:lnTo>
                    <a:pt x="1487" y="2088"/>
                  </a:lnTo>
                  <a:lnTo>
                    <a:pt x="1485" y="2155"/>
                  </a:lnTo>
                  <a:lnTo>
                    <a:pt x="1487" y="2200"/>
                  </a:lnTo>
                  <a:lnTo>
                    <a:pt x="1493" y="2246"/>
                  </a:lnTo>
                  <a:lnTo>
                    <a:pt x="1501" y="2296"/>
                  </a:lnTo>
                  <a:lnTo>
                    <a:pt x="1512" y="2344"/>
                  </a:lnTo>
                  <a:lnTo>
                    <a:pt x="1529" y="2392"/>
                  </a:lnTo>
                  <a:lnTo>
                    <a:pt x="1551" y="2438"/>
                  </a:lnTo>
                  <a:lnTo>
                    <a:pt x="1571" y="2467"/>
                  </a:lnTo>
                  <a:lnTo>
                    <a:pt x="1592" y="2493"/>
                  </a:lnTo>
                  <a:lnTo>
                    <a:pt x="1618" y="2516"/>
                  </a:lnTo>
                  <a:lnTo>
                    <a:pt x="1644" y="2537"/>
                  </a:lnTo>
                  <a:lnTo>
                    <a:pt x="1674" y="2552"/>
                  </a:lnTo>
                  <a:lnTo>
                    <a:pt x="1707" y="2563"/>
                  </a:lnTo>
                  <a:lnTo>
                    <a:pt x="1746" y="2570"/>
                  </a:lnTo>
                  <a:lnTo>
                    <a:pt x="1789" y="2573"/>
                  </a:lnTo>
                  <a:lnTo>
                    <a:pt x="1836" y="2570"/>
                  </a:lnTo>
                  <a:lnTo>
                    <a:pt x="1878" y="2565"/>
                  </a:lnTo>
                  <a:lnTo>
                    <a:pt x="1919" y="2555"/>
                  </a:lnTo>
                  <a:lnTo>
                    <a:pt x="1957" y="2542"/>
                  </a:lnTo>
                  <a:lnTo>
                    <a:pt x="1992" y="2526"/>
                  </a:lnTo>
                  <a:lnTo>
                    <a:pt x="2025" y="2505"/>
                  </a:lnTo>
                  <a:lnTo>
                    <a:pt x="2066" y="2474"/>
                  </a:lnTo>
                  <a:lnTo>
                    <a:pt x="2102" y="2441"/>
                  </a:lnTo>
                  <a:lnTo>
                    <a:pt x="2137" y="2404"/>
                  </a:lnTo>
                  <a:lnTo>
                    <a:pt x="2167" y="2365"/>
                  </a:lnTo>
                  <a:lnTo>
                    <a:pt x="2196" y="2322"/>
                  </a:lnTo>
                  <a:lnTo>
                    <a:pt x="2226" y="2263"/>
                  </a:lnTo>
                  <a:lnTo>
                    <a:pt x="2253" y="2202"/>
                  </a:lnTo>
                  <a:lnTo>
                    <a:pt x="2276" y="2139"/>
                  </a:lnTo>
                  <a:lnTo>
                    <a:pt x="2295" y="2076"/>
                  </a:lnTo>
                  <a:lnTo>
                    <a:pt x="2309" y="2009"/>
                  </a:lnTo>
                  <a:lnTo>
                    <a:pt x="2319" y="1945"/>
                  </a:lnTo>
                  <a:lnTo>
                    <a:pt x="2327" y="1883"/>
                  </a:lnTo>
                  <a:lnTo>
                    <a:pt x="2329" y="1822"/>
                  </a:lnTo>
                  <a:lnTo>
                    <a:pt x="2328" y="1766"/>
                  </a:lnTo>
                  <a:lnTo>
                    <a:pt x="2322" y="1710"/>
                  </a:lnTo>
                  <a:lnTo>
                    <a:pt x="2311" y="1655"/>
                  </a:lnTo>
                  <a:lnTo>
                    <a:pt x="2301" y="1619"/>
                  </a:lnTo>
                  <a:lnTo>
                    <a:pt x="2289" y="1586"/>
                  </a:lnTo>
                  <a:lnTo>
                    <a:pt x="2274" y="1554"/>
                  </a:lnTo>
                  <a:lnTo>
                    <a:pt x="2256" y="1523"/>
                  </a:lnTo>
                  <a:lnTo>
                    <a:pt x="2237" y="1499"/>
                  </a:lnTo>
                  <a:lnTo>
                    <a:pt x="2215" y="1475"/>
                  </a:lnTo>
                  <a:lnTo>
                    <a:pt x="2191" y="1455"/>
                  </a:lnTo>
                  <a:lnTo>
                    <a:pt x="2164" y="1437"/>
                  </a:lnTo>
                  <a:lnTo>
                    <a:pt x="2132" y="1423"/>
                  </a:lnTo>
                  <a:lnTo>
                    <a:pt x="2096" y="1413"/>
                  </a:lnTo>
                  <a:lnTo>
                    <a:pt x="2055" y="1407"/>
                  </a:lnTo>
                  <a:lnTo>
                    <a:pt x="2009" y="1404"/>
                  </a:lnTo>
                  <a:close/>
                  <a:moveTo>
                    <a:pt x="2035" y="0"/>
                  </a:moveTo>
                  <a:lnTo>
                    <a:pt x="2035" y="0"/>
                  </a:lnTo>
                  <a:lnTo>
                    <a:pt x="2155" y="3"/>
                  </a:lnTo>
                  <a:lnTo>
                    <a:pt x="2273" y="11"/>
                  </a:lnTo>
                  <a:lnTo>
                    <a:pt x="2390" y="27"/>
                  </a:lnTo>
                  <a:lnTo>
                    <a:pt x="2505" y="48"/>
                  </a:lnTo>
                  <a:lnTo>
                    <a:pt x="2620" y="76"/>
                  </a:lnTo>
                  <a:lnTo>
                    <a:pt x="2733" y="112"/>
                  </a:lnTo>
                  <a:lnTo>
                    <a:pt x="2829" y="145"/>
                  </a:lnTo>
                  <a:lnTo>
                    <a:pt x="2922" y="183"/>
                  </a:lnTo>
                  <a:lnTo>
                    <a:pt x="3012" y="225"/>
                  </a:lnTo>
                  <a:lnTo>
                    <a:pt x="3099" y="271"/>
                  </a:lnTo>
                  <a:lnTo>
                    <a:pt x="3184" y="322"/>
                  </a:lnTo>
                  <a:lnTo>
                    <a:pt x="3264" y="376"/>
                  </a:lnTo>
                  <a:lnTo>
                    <a:pt x="3342" y="436"/>
                  </a:lnTo>
                  <a:lnTo>
                    <a:pt x="3416" y="500"/>
                  </a:lnTo>
                  <a:lnTo>
                    <a:pt x="3486" y="568"/>
                  </a:lnTo>
                  <a:lnTo>
                    <a:pt x="3552" y="642"/>
                  </a:lnTo>
                  <a:lnTo>
                    <a:pt x="3613" y="719"/>
                  </a:lnTo>
                  <a:lnTo>
                    <a:pt x="3670" y="802"/>
                  </a:lnTo>
                  <a:lnTo>
                    <a:pt x="3722" y="888"/>
                  </a:lnTo>
                  <a:lnTo>
                    <a:pt x="3770" y="978"/>
                  </a:lnTo>
                  <a:lnTo>
                    <a:pt x="3807" y="1061"/>
                  </a:lnTo>
                  <a:lnTo>
                    <a:pt x="3840" y="1147"/>
                  </a:lnTo>
                  <a:lnTo>
                    <a:pt x="3867" y="1237"/>
                  </a:lnTo>
                  <a:lnTo>
                    <a:pt x="3889" y="1331"/>
                  </a:lnTo>
                  <a:lnTo>
                    <a:pt x="3907" y="1428"/>
                  </a:lnTo>
                  <a:lnTo>
                    <a:pt x="3920" y="1528"/>
                  </a:lnTo>
                  <a:lnTo>
                    <a:pt x="3927" y="1631"/>
                  </a:lnTo>
                  <a:lnTo>
                    <a:pt x="3929" y="1738"/>
                  </a:lnTo>
                  <a:lnTo>
                    <a:pt x="3927" y="1842"/>
                  </a:lnTo>
                  <a:lnTo>
                    <a:pt x="3921" y="1943"/>
                  </a:lnTo>
                  <a:lnTo>
                    <a:pt x="3909" y="2041"/>
                  </a:lnTo>
                  <a:lnTo>
                    <a:pt x="3891" y="2134"/>
                  </a:lnTo>
                  <a:lnTo>
                    <a:pt x="3869" y="2224"/>
                  </a:lnTo>
                  <a:lnTo>
                    <a:pt x="3844" y="2310"/>
                  </a:lnTo>
                  <a:lnTo>
                    <a:pt x="3813" y="2391"/>
                  </a:lnTo>
                  <a:lnTo>
                    <a:pt x="3779" y="2468"/>
                  </a:lnTo>
                  <a:lnTo>
                    <a:pt x="3741" y="2541"/>
                  </a:lnTo>
                  <a:lnTo>
                    <a:pt x="3700" y="2608"/>
                  </a:lnTo>
                  <a:lnTo>
                    <a:pt x="3656" y="2673"/>
                  </a:lnTo>
                  <a:lnTo>
                    <a:pt x="3610" y="2733"/>
                  </a:lnTo>
                  <a:lnTo>
                    <a:pt x="3558" y="2789"/>
                  </a:lnTo>
                  <a:lnTo>
                    <a:pt x="3504" y="2839"/>
                  </a:lnTo>
                  <a:lnTo>
                    <a:pt x="3447" y="2886"/>
                  </a:lnTo>
                  <a:lnTo>
                    <a:pt x="3388" y="2927"/>
                  </a:lnTo>
                  <a:lnTo>
                    <a:pt x="3326" y="2964"/>
                  </a:lnTo>
                  <a:lnTo>
                    <a:pt x="3261" y="2996"/>
                  </a:lnTo>
                  <a:lnTo>
                    <a:pt x="3181" y="3027"/>
                  </a:lnTo>
                  <a:lnTo>
                    <a:pt x="3099" y="3051"/>
                  </a:lnTo>
                  <a:lnTo>
                    <a:pt x="3016" y="3068"/>
                  </a:lnTo>
                  <a:lnTo>
                    <a:pt x="2931" y="3079"/>
                  </a:lnTo>
                  <a:lnTo>
                    <a:pt x="2844" y="3082"/>
                  </a:lnTo>
                  <a:lnTo>
                    <a:pt x="2778" y="3081"/>
                  </a:lnTo>
                  <a:lnTo>
                    <a:pt x="2717" y="3073"/>
                  </a:lnTo>
                  <a:lnTo>
                    <a:pt x="2658" y="3062"/>
                  </a:lnTo>
                  <a:lnTo>
                    <a:pt x="2606" y="3046"/>
                  </a:lnTo>
                  <a:lnTo>
                    <a:pt x="2557" y="3025"/>
                  </a:lnTo>
                  <a:lnTo>
                    <a:pt x="2511" y="3001"/>
                  </a:lnTo>
                  <a:lnTo>
                    <a:pt x="2471" y="2971"/>
                  </a:lnTo>
                  <a:lnTo>
                    <a:pt x="2436" y="2938"/>
                  </a:lnTo>
                  <a:lnTo>
                    <a:pt x="2402" y="2903"/>
                  </a:lnTo>
                  <a:lnTo>
                    <a:pt x="2376" y="2866"/>
                  </a:lnTo>
                  <a:lnTo>
                    <a:pt x="2352" y="2825"/>
                  </a:lnTo>
                  <a:lnTo>
                    <a:pt x="2314" y="2862"/>
                  </a:lnTo>
                  <a:lnTo>
                    <a:pt x="2270" y="2898"/>
                  </a:lnTo>
                  <a:lnTo>
                    <a:pt x="2224" y="2932"/>
                  </a:lnTo>
                  <a:lnTo>
                    <a:pt x="2177" y="2962"/>
                  </a:lnTo>
                  <a:lnTo>
                    <a:pt x="2126" y="2990"/>
                  </a:lnTo>
                  <a:lnTo>
                    <a:pt x="2072" y="3014"/>
                  </a:lnTo>
                  <a:lnTo>
                    <a:pt x="2016" y="3038"/>
                  </a:lnTo>
                  <a:lnTo>
                    <a:pt x="1954" y="3057"/>
                  </a:lnTo>
                  <a:lnTo>
                    <a:pt x="1889" y="3071"/>
                  </a:lnTo>
                  <a:lnTo>
                    <a:pt x="1821" y="3079"/>
                  </a:lnTo>
                  <a:lnTo>
                    <a:pt x="1751" y="3082"/>
                  </a:lnTo>
                  <a:lnTo>
                    <a:pt x="1675" y="3079"/>
                  </a:lnTo>
                  <a:lnTo>
                    <a:pt x="1602" y="3071"/>
                  </a:lnTo>
                  <a:lnTo>
                    <a:pt x="1531" y="3055"/>
                  </a:lnTo>
                  <a:lnTo>
                    <a:pt x="1463" y="3035"/>
                  </a:lnTo>
                  <a:lnTo>
                    <a:pt x="1398" y="3008"/>
                  </a:lnTo>
                  <a:lnTo>
                    <a:pt x="1337" y="2978"/>
                  </a:lnTo>
                  <a:lnTo>
                    <a:pt x="1280" y="2942"/>
                  </a:lnTo>
                  <a:lnTo>
                    <a:pt x="1226" y="2902"/>
                  </a:lnTo>
                  <a:lnTo>
                    <a:pt x="1177" y="2857"/>
                  </a:lnTo>
                  <a:lnTo>
                    <a:pt x="1133" y="2809"/>
                  </a:lnTo>
                  <a:lnTo>
                    <a:pt x="1092" y="2758"/>
                  </a:lnTo>
                  <a:lnTo>
                    <a:pt x="1056" y="2701"/>
                  </a:lnTo>
                  <a:lnTo>
                    <a:pt x="1024" y="2643"/>
                  </a:lnTo>
                  <a:lnTo>
                    <a:pt x="994" y="2579"/>
                  </a:lnTo>
                  <a:lnTo>
                    <a:pt x="970" y="2511"/>
                  </a:lnTo>
                  <a:lnTo>
                    <a:pt x="950" y="2443"/>
                  </a:lnTo>
                  <a:lnTo>
                    <a:pt x="936" y="2371"/>
                  </a:lnTo>
                  <a:lnTo>
                    <a:pt x="924" y="2296"/>
                  </a:lnTo>
                  <a:lnTo>
                    <a:pt x="917" y="2220"/>
                  </a:lnTo>
                  <a:lnTo>
                    <a:pt x="915" y="2143"/>
                  </a:lnTo>
                  <a:lnTo>
                    <a:pt x="918" y="2051"/>
                  </a:lnTo>
                  <a:lnTo>
                    <a:pt x="927" y="1959"/>
                  </a:lnTo>
                  <a:lnTo>
                    <a:pt x="943" y="1869"/>
                  </a:lnTo>
                  <a:lnTo>
                    <a:pt x="964" y="1779"/>
                  </a:lnTo>
                  <a:lnTo>
                    <a:pt x="992" y="1690"/>
                  </a:lnTo>
                  <a:lnTo>
                    <a:pt x="1018" y="1621"/>
                  </a:lnTo>
                  <a:lnTo>
                    <a:pt x="1047" y="1555"/>
                  </a:lnTo>
                  <a:lnTo>
                    <a:pt x="1081" y="1490"/>
                  </a:lnTo>
                  <a:lnTo>
                    <a:pt x="1118" y="1426"/>
                  </a:lnTo>
                  <a:lnTo>
                    <a:pt x="1158" y="1366"/>
                  </a:lnTo>
                  <a:lnTo>
                    <a:pt x="1202" y="1309"/>
                  </a:lnTo>
                  <a:lnTo>
                    <a:pt x="1228" y="1279"/>
                  </a:lnTo>
                  <a:lnTo>
                    <a:pt x="1254" y="1251"/>
                  </a:lnTo>
                  <a:lnTo>
                    <a:pt x="1310" y="1194"/>
                  </a:lnTo>
                  <a:lnTo>
                    <a:pt x="1369" y="1140"/>
                  </a:lnTo>
                  <a:lnTo>
                    <a:pt x="1433" y="1093"/>
                  </a:lnTo>
                  <a:lnTo>
                    <a:pt x="1499" y="1048"/>
                  </a:lnTo>
                  <a:lnTo>
                    <a:pt x="1567" y="1010"/>
                  </a:lnTo>
                  <a:lnTo>
                    <a:pt x="1640" y="977"/>
                  </a:lnTo>
                  <a:lnTo>
                    <a:pt x="1714" y="951"/>
                  </a:lnTo>
                  <a:lnTo>
                    <a:pt x="1790" y="932"/>
                  </a:lnTo>
                  <a:lnTo>
                    <a:pt x="1869" y="919"/>
                  </a:lnTo>
                  <a:lnTo>
                    <a:pt x="1948" y="915"/>
                  </a:lnTo>
                  <a:lnTo>
                    <a:pt x="1990" y="915"/>
                  </a:lnTo>
                  <a:lnTo>
                    <a:pt x="2033" y="916"/>
                  </a:lnTo>
                  <a:lnTo>
                    <a:pt x="2077" y="921"/>
                  </a:lnTo>
                  <a:lnTo>
                    <a:pt x="2120" y="927"/>
                  </a:lnTo>
                  <a:lnTo>
                    <a:pt x="2162" y="935"/>
                  </a:lnTo>
                  <a:lnTo>
                    <a:pt x="2205" y="946"/>
                  </a:lnTo>
                  <a:lnTo>
                    <a:pt x="2247" y="961"/>
                  </a:lnTo>
                  <a:lnTo>
                    <a:pt x="2286" y="977"/>
                  </a:lnTo>
                  <a:lnTo>
                    <a:pt x="2324" y="998"/>
                  </a:lnTo>
                  <a:lnTo>
                    <a:pt x="2358" y="1020"/>
                  </a:lnTo>
                  <a:lnTo>
                    <a:pt x="2391" y="1047"/>
                  </a:lnTo>
                  <a:lnTo>
                    <a:pt x="2421" y="1077"/>
                  </a:lnTo>
                  <a:lnTo>
                    <a:pt x="2445" y="1111"/>
                  </a:lnTo>
                  <a:lnTo>
                    <a:pt x="2466" y="1148"/>
                  </a:lnTo>
                  <a:lnTo>
                    <a:pt x="2483" y="1189"/>
                  </a:lnTo>
                  <a:lnTo>
                    <a:pt x="2484" y="1187"/>
                  </a:lnTo>
                  <a:lnTo>
                    <a:pt x="2486" y="1180"/>
                  </a:lnTo>
                  <a:lnTo>
                    <a:pt x="2489" y="1169"/>
                  </a:lnTo>
                  <a:lnTo>
                    <a:pt x="2493" y="1155"/>
                  </a:lnTo>
                  <a:lnTo>
                    <a:pt x="2498" y="1138"/>
                  </a:lnTo>
                  <a:lnTo>
                    <a:pt x="2503" y="1120"/>
                  </a:lnTo>
                  <a:lnTo>
                    <a:pt x="2515" y="1085"/>
                  </a:lnTo>
                  <a:lnTo>
                    <a:pt x="2533" y="1054"/>
                  </a:lnTo>
                  <a:lnTo>
                    <a:pt x="2558" y="1029"/>
                  </a:lnTo>
                  <a:lnTo>
                    <a:pt x="2586" y="1008"/>
                  </a:lnTo>
                  <a:lnTo>
                    <a:pt x="2618" y="992"/>
                  </a:lnTo>
                  <a:lnTo>
                    <a:pt x="2652" y="981"/>
                  </a:lnTo>
                  <a:lnTo>
                    <a:pt x="2688" y="978"/>
                  </a:lnTo>
                  <a:lnTo>
                    <a:pt x="2829" y="978"/>
                  </a:lnTo>
                  <a:lnTo>
                    <a:pt x="2865" y="981"/>
                  </a:lnTo>
                  <a:lnTo>
                    <a:pt x="2898" y="991"/>
                  </a:lnTo>
                  <a:lnTo>
                    <a:pt x="2930" y="1007"/>
                  </a:lnTo>
                  <a:lnTo>
                    <a:pt x="2957" y="1026"/>
                  </a:lnTo>
                  <a:lnTo>
                    <a:pt x="2979" y="1051"/>
                  </a:lnTo>
                  <a:lnTo>
                    <a:pt x="2999" y="1079"/>
                  </a:lnTo>
                  <a:lnTo>
                    <a:pt x="3012" y="1110"/>
                  </a:lnTo>
                  <a:lnTo>
                    <a:pt x="3020" y="1143"/>
                  </a:lnTo>
                  <a:lnTo>
                    <a:pt x="3022" y="1177"/>
                  </a:lnTo>
                  <a:lnTo>
                    <a:pt x="3018" y="1212"/>
                  </a:lnTo>
                  <a:lnTo>
                    <a:pt x="2998" y="1306"/>
                  </a:lnTo>
                  <a:lnTo>
                    <a:pt x="2977" y="1401"/>
                  </a:lnTo>
                  <a:lnTo>
                    <a:pt x="2957" y="1495"/>
                  </a:lnTo>
                  <a:lnTo>
                    <a:pt x="2902" y="1750"/>
                  </a:lnTo>
                  <a:lnTo>
                    <a:pt x="2848" y="2008"/>
                  </a:lnTo>
                  <a:lnTo>
                    <a:pt x="2831" y="2087"/>
                  </a:lnTo>
                  <a:lnTo>
                    <a:pt x="2813" y="2165"/>
                  </a:lnTo>
                  <a:lnTo>
                    <a:pt x="2798" y="2245"/>
                  </a:lnTo>
                  <a:lnTo>
                    <a:pt x="2787" y="2326"/>
                  </a:lnTo>
                  <a:lnTo>
                    <a:pt x="2786" y="2347"/>
                  </a:lnTo>
                  <a:lnTo>
                    <a:pt x="2783" y="2369"/>
                  </a:lnTo>
                  <a:lnTo>
                    <a:pt x="2782" y="2393"/>
                  </a:lnTo>
                  <a:lnTo>
                    <a:pt x="2782" y="2418"/>
                  </a:lnTo>
                  <a:lnTo>
                    <a:pt x="2782" y="2443"/>
                  </a:lnTo>
                  <a:lnTo>
                    <a:pt x="2784" y="2467"/>
                  </a:lnTo>
                  <a:lnTo>
                    <a:pt x="2788" y="2490"/>
                  </a:lnTo>
                  <a:lnTo>
                    <a:pt x="2796" y="2512"/>
                  </a:lnTo>
                  <a:lnTo>
                    <a:pt x="2805" y="2532"/>
                  </a:lnTo>
                  <a:lnTo>
                    <a:pt x="2819" y="2548"/>
                  </a:lnTo>
                  <a:lnTo>
                    <a:pt x="2836" y="2563"/>
                  </a:lnTo>
                  <a:lnTo>
                    <a:pt x="2858" y="2573"/>
                  </a:lnTo>
                  <a:lnTo>
                    <a:pt x="2892" y="2580"/>
                  </a:lnTo>
                  <a:lnTo>
                    <a:pt x="2928" y="2582"/>
                  </a:lnTo>
                  <a:lnTo>
                    <a:pt x="2964" y="2580"/>
                  </a:lnTo>
                  <a:lnTo>
                    <a:pt x="3001" y="2573"/>
                  </a:lnTo>
                  <a:lnTo>
                    <a:pt x="3037" y="2560"/>
                  </a:lnTo>
                  <a:lnTo>
                    <a:pt x="3071" y="2546"/>
                  </a:lnTo>
                  <a:lnTo>
                    <a:pt x="3102" y="2527"/>
                  </a:lnTo>
                  <a:lnTo>
                    <a:pt x="3142" y="2495"/>
                  </a:lnTo>
                  <a:lnTo>
                    <a:pt x="3181" y="2458"/>
                  </a:lnTo>
                  <a:lnTo>
                    <a:pt x="3216" y="2416"/>
                  </a:lnTo>
                  <a:lnTo>
                    <a:pt x="3249" y="2368"/>
                  </a:lnTo>
                  <a:lnTo>
                    <a:pt x="3273" y="2322"/>
                  </a:lnTo>
                  <a:lnTo>
                    <a:pt x="3296" y="2274"/>
                  </a:lnTo>
                  <a:lnTo>
                    <a:pt x="3316" y="2222"/>
                  </a:lnTo>
                  <a:lnTo>
                    <a:pt x="3334" y="2165"/>
                  </a:lnTo>
                  <a:lnTo>
                    <a:pt x="3350" y="2107"/>
                  </a:lnTo>
                  <a:lnTo>
                    <a:pt x="3367" y="2026"/>
                  </a:lnTo>
                  <a:lnTo>
                    <a:pt x="3380" y="1944"/>
                  </a:lnTo>
                  <a:lnTo>
                    <a:pt x="3387" y="1858"/>
                  </a:lnTo>
                  <a:lnTo>
                    <a:pt x="3389" y="1770"/>
                  </a:lnTo>
                  <a:lnTo>
                    <a:pt x="3387" y="1684"/>
                  </a:lnTo>
                  <a:lnTo>
                    <a:pt x="3381" y="1601"/>
                  </a:lnTo>
                  <a:lnTo>
                    <a:pt x="3371" y="1521"/>
                  </a:lnTo>
                  <a:lnTo>
                    <a:pt x="3358" y="1444"/>
                  </a:lnTo>
                  <a:lnTo>
                    <a:pt x="3339" y="1370"/>
                  </a:lnTo>
                  <a:lnTo>
                    <a:pt x="3316" y="1299"/>
                  </a:lnTo>
                  <a:lnTo>
                    <a:pt x="3290" y="1231"/>
                  </a:lnTo>
                  <a:lnTo>
                    <a:pt x="3253" y="1156"/>
                  </a:lnTo>
                  <a:lnTo>
                    <a:pt x="3214" y="1086"/>
                  </a:lnTo>
                  <a:lnTo>
                    <a:pt x="3170" y="1019"/>
                  </a:lnTo>
                  <a:lnTo>
                    <a:pt x="3121" y="956"/>
                  </a:lnTo>
                  <a:lnTo>
                    <a:pt x="3069" y="899"/>
                  </a:lnTo>
                  <a:lnTo>
                    <a:pt x="3011" y="843"/>
                  </a:lnTo>
                  <a:lnTo>
                    <a:pt x="2950" y="793"/>
                  </a:lnTo>
                  <a:lnTo>
                    <a:pt x="2886" y="746"/>
                  </a:lnTo>
                  <a:lnTo>
                    <a:pt x="2818" y="705"/>
                  </a:lnTo>
                  <a:lnTo>
                    <a:pt x="2745" y="667"/>
                  </a:lnTo>
                  <a:lnTo>
                    <a:pt x="2668" y="634"/>
                  </a:lnTo>
                  <a:lnTo>
                    <a:pt x="2589" y="607"/>
                  </a:lnTo>
                  <a:lnTo>
                    <a:pt x="2504" y="582"/>
                  </a:lnTo>
                  <a:lnTo>
                    <a:pt x="2416" y="562"/>
                  </a:lnTo>
                  <a:lnTo>
                    <a:pt x="2325" y="546"/>
                  </a:lnTo>
                  <a:lnTo>
                    <a:pt x="2231" y="535"/>
                  </a:lnTo>
                  <a:lnTo>
                    <a:pt x="2134" y="528"/>
                  </a:lnTo>
                  <a:lnTo>
                    <a:pt x="2035" y="526"/>
                  </a:lnTo>
                  <a:lnTo>
                    <a:pt x="1929" y="529"/>
                  </a:lnTo>
                  <a:lnTo>
                    <a:pt x="1824" y="539"/>
                  </a:lnTo>
                  <a:lnTo>
                    <a:pt x="1724" y="554"/>
                  </a:lnTo>
                  <a:lnTo>
                    <a:pt x="1626" y="576"/>
                  </a:lnTo>
                  <a:lnTo>
                    <a:pt x="1533" y="604"/>
                  </a:lnTo>
                  <a:lnTo>
                    <a:pt x="1442" y="638"/>
                  </a:lnTo>
                  <a:lnTo>
                    <a:pt x="1357" y="678"/>
                  </a:lnTo>
                  <a:lnTo>
                    <a:pt x="1275" y="722"/>
                  </a:lnTo>
                  <a:lnTo>
                    <a:pt x="1196" y="772"/>
                  </a:lnTo>
                  <a:lnTo>
                    <a:pt x="1123" y="826"/>
                  </a:lnTo>
                  <a:lnTo>
                    <a:pt x="1053" y="885"/>
                  </a:lnTo>
                  <a:lnTo>
                    <a:pt x="988" y="949"/>
                  </a:lnTo>
                  <a:lnTo>
                    <a:pt x="936" y="1007"/>
                  </a:lnTo>
                  <a:lnTo>
                    <a:pt x="887" y="1067"/>
                  </a:lnTo>
                  <a:lnTo>
                    <a:pt x="841" y="1131"/>
                  </a:lnTo>
                  <a:lnTo>
                    <a:pt x="800" y="1198"/>
                  </a:lnTo>
                  <a:lnTo>
                    <a:pt x="760" y="1268"/>
                  </a:lnTo>
                  <a:lnTo>
                    <a:pt x="726" y="1342"/>
                  </a:lnTo>
                  <a:lnTo>
                    <a:pt x="694" y="1418"/>
                  </a:lnTo>
                  <a:lnTo>
                    <a:pt x="662" y="1509"/>
                  </a:lnTo>
                  <a:lnTo>
                    <a:pt x="636" y="1604"/>
                  </a:lnTo>
                  <a:lnTo>
                    <a:pt x="615" y="1702"/>
                  </a:lnTo>
                  <a:lnTo>
                    <a:pt x="600" y="1803"/>
                  </a:lnTo>
                  <a:lnTo>
                    <a:pt x="591" y="1906"/>
                  </a:lnTo>
                  <a:lnTo>
                    <a:pt x="589" y="2011"/>
                  </a:lnTo>
                  <a:lnTo>
                    <a:pt x="590" y="2106"/>
                  </a:lnTo>
                  <a:lnTo>
                    <a:pt x="598" y="2198"/>
                  </a:lnTo>
                  <a:lnTo>
                    <a:pt x="609" y="2289"/>
                  </a:lnTo>
                  <a:lnTo>
                    <a:pt x="623" y="2376"/>
                  </a:lnTo>
                  <a:lnTo>
                    <a:pt x="644" y="2461"/>
                  </a:lnTo>
                  <a:lnTo>
                    <a:pt x="669" y="2542"/>
                  </a:lnTo>
                  <a:lnTo>
                    <a:pt x="698" y="2620"/>
                  </a:lnTo>
                  <a:lnTo>
                    <a:pt x="735" y="2706"/>
                  </a:lnTo>
                  <a:lnTo>
                    <a:pt x="779" y="2790"/>
                  </a:lnTo>
                  <a:lnTo>
                    <a:pt x="827" y="2867"/>
                  </a:lnTo>
                  <a:lnTo>
                    <a:pt x="879" y="2942"/>
                  </a:lnTo>
                  <a:lnTo>
                    <a:pt x="937" y="3011"/>
                  </a:lnTo>
                  <a:lnTo>
                    <a:pt x="998" y="3076"/>
                  </a:lnTo>
                  <a:lnTo>
                    <a:pt x="1064" y="3136"/>
                  </a:lnTo>
                  <a:lnTo>
                    <a:pt x="1135" y="3191"/>
                  </a:lnTo>
                  <a:lnTo>
                    <a:pt x="1211" y="3241"/>
                  </a:lnTo>
                  <a:lnTo>
                    <a:pt x="1291" y="3288"/>
                  </a:lnTo>
                  <a:lnTo>
                    <a:pt x="1375" y="3329"/>
                  </a:lnTo>
                  <a:lnTo>
                    <a:pt x="1462" y="3365"/>
                  </a:lnTo>
                  <a:lnTo>
                    <a:pt x="1554" y="3396"/>
                  </a:lnTo>
                  <a:lnTo>
                    <a:pt x="1649" y="3422"/>
                  </a:lnTo>
                  <a:lnTo>
                    <a:pt x="1750" y="3442"/>
                  </a:lnTo>
                  <a:lnTo>
                    <a:pt x="1853" y="3456"/>
                  </a:lnTo>
                  <a:lnTo>
                    <a:pt x="1960" y="3465"/>
                  </a:lnTo>
                  <a:lnTo>
                    <a:pt x="2071" y="3467"/>
                  </a:lnTo>
                  <a:lnTo>
                    <a:pt x="2176" y="3465"/>
                  </a:lnTo>
                  <a:lnTo>
                    <a:pt x="2278" y="3459"/>
                  </a:lnTo>
                  <a:lnTo>
                    <a:pt x="2376" y="3449"/>
                  </a:lnTo>
                  <a:lnTo>
                    <a:pt x="2470" y="3434"/>
                  </a:lnTo>
                  <a:lnTo>
                    <a:pt x="2560" y="3416"/>
                  </a:lnTo>
                  <a:lnTo>
                    <a:pt x="2647" y="3392"/>
                  </a:lnTo>
                  <a:lnTo>
                    <a:pt x="2731" y="3367"/>
                  </a:lnTo>
                  <a:lnTo>
                    <a:pt x="2810" y="3336"/>
                  </a:lnTo>
                  <a:lnTo>
                    <a:pt x="2833" y="3329"/>
                  </a:lnTo>
                  <a:lnTo>
                    <a:pt x="2858" y="3327"/>
                  </a:lnTo>
                  <a:lnTo>
                    <a:pt x="2882" y="3332"/>
                  </a:lnTo>
                  <a:lnTo>
                    <a:pt x="2907" y="3341"/>
                  </a:lnTo>
                  <a:lnTo>
                    <a:pt x="2930" y="3354"/>
                  </a:lnTo>
                  <a:lnTo>
                    <a:pt x="2952" y="3372"/>
                  </a:lnTo>
                  <a:lnTo>
                    <a:pt x="2974" y="3392"/>
                  </a:lnTo>
                  <a:lnTo>
                    <a:pt x="2994" y="3416"/>
                  </a:lnTo>
                  <a:lnTo>
                    <a:pt x="3012" y="3442"/>
                  </a:lnTo>
                  <a:lnTo>
                    <a:pt x="3028" y="3471"/>
                  </a:lnTo>
                  <a:lnTo>
                    <a:pt x="3043" y="3500"/>
                  </a:lnTo>
                  <a:lnTo>
                    <a:pt x="3055" y="3531"/>
                  </a:lnTo>
                  <a:lnTo>
                    <a:pt x="3065" y="3564"/>
                  </a:lnTo>
                  <a:lnTo>
                    <a:pt x="3071" y="3596"/>
                  </a:lnTo>
                  <a:lnTo>
                    <a:pt x="3075" y="3628"/>
                  </a:lnTo>
                  <a:lnTo>
                    <a:pt x="3075" y="3660"/>
                  </a:lnTo>
                  <a:lnTo>
                    <a:pt x="3071" y="3689"/>
                  </a:lnTo>
                  <a:lnTo>
                    <a:pt x="3064" y="3719"/>
                  </a:lnTo>
                  <a:lnTo>
                    <a:pt x="3053" y="3746"/>
                  </a:lnTo>
                  <a:lnTo>
                    <a:pt x="3037" y="3769"/>
                  </a:lnTo>
                  <a:lnTo>
                    <a:pt x="3016" y="3791"/>
                  </a:lnTo>
                  <a:lnTo>
                    <a:pt x="2990" y="3810"/>
                  </a:lnTo>
                  <a:lnTo>
                    <a:pt x="2960" y="3823"/>
                  </a:lnTo>
                  <a:lnTo>
                    <a:pt x="2854" y="3860"/>
                  </a:lnTo>
                  <a:lnTo>
                    <a:pt x="2745" y="3893"/>
                  </a:lnTo>
                  <a:lnTo>
                    <a:pt x="2634" y="3920"/>
                  </a:lnTo>
                  <a:lnTo>
                    <a:pt x="2519" y="3942"/>
                  </a:lnTo>
                  <a:lnTo>
                    <a:pt x="2402" y="3959"/>
                  </a:lnTo>
                  <a:lnTo>
                    <a:pt x="2282" y="3970"/>
                  </a:lnTo>
                  <a:lnTo>
                    <a:pt x="2160" y="3978"/>
                  </a:lnTo>
                  <a:lnTo>
                    <a:pt x="2035" y="3980"/>
                  </a:lnTo>
                  <a:lnTo>
                    <a:pt x="1908" y="3978"/>
                  </a:lnTo>
                  <a:lnTo>
                    <a:pt x="1783" y="3968"/>
                  </a:lnTo>
                  <a:lnTo>
                    <a:pt x="1662" y="3953"/>
                  </a:lnTo>
                  <a:lnTo>
                    <a:pt x="1543" y="3931"/>
                  </a:lnTo>
                  <a:lnTo>
                    <a:pt x="1427" y="3904"/>
                  </a:lnTo>
                  <a:lnTo>
                    <a:pt x="1315" y="3871"/>
                  </a:lnTo>
                  <a:lnTo>
                    <a:pt x="1206" y="3833"/>
                  </a:lnTo>
                  <a:lnTo>
                    <a:pt x="1102" y="3789"/>
                  </a:lnTo>
                  <a:lnTo>
                    <a:pt x="1000" y="3740"/>
                  </a:lnTo>
                  <a:lnTo>
                    <a:pt x="905" y="3686"/>
                  </a:lnTo>
                  <a:lnTo>
                    <a:pt x="813" y="3627"/>
                  </a:lnTo>
                  <a:lnTo>
                    <a:pt x="725" y="3563"/>
                  </a:lnTo>
                  <a:lnTo>
                    <a:pt x="642" y="3494"/>
                  </a:lnTo>
                  <a:lnTo>
                    <a:pt x="563" y="3422"/>
                  </a:lnTo>
                  <a:lnTo>
                    <a:pt x="489" y="3345"/>
                  </a:lnTo>
                  <a:lnTo>
                    <a:pt x="419" y="3262"/>
                  </a:lnTo>
                  <a:lnTo>
                    <a:pt x="354" y="3176"/>
                  </a:lnTo>
                  <a:lnTo>
                    <a:pt x="294" y="3086"/>
                  </a:lnTo>
                  <a:lnTo>
                    <a:pt x="240" y="2991"/>
                  </a:lnTo>
                  <a:lnTo>
                    <a:pt x="191" y="2893"/>
                  </a:lnTo>
                  <a:lnTo>
                    <a:pt x="147" y="2791"/>
                  </a:lnTo>
                  <a:lnTo>
                    <a:pt x="111" y="2699"/>
                  </a:lnTo>
                  <a:lnTo>
                    <a:pt x="82" y="2605"/>
                  </a:lnTo>
                  <a:lnTo>
                    <a:pt x="56" y="2509"/>
                  </a:lnTo>
                  <a:lnTo>
                    <a:pt x="36" y="2409"/>
                  </a:lnTo>
                  <a:lnTo>
                    <a:pt x="20" y="2309"/>
                  </a:lnTo>
                  <a:lnTo>
                    <a:pt x="9" y="2206"/>
                  </a:lnTo>
                  <a:lnTo>
                    <a:pt x="2" y="2101"/>
                  </a:lnTo>
                  <a:lnTo>
                    <a:pt x="0" y="1995"/>
                  </a:lnTo>
                  <a:lnTo>
                    <a:pt x="2" y="1890"/>
                  </a:lnTo>
                  <a:lnTo>
                    <a:pt x="10" y="1786"/>
                  </a:lnTo>
                  <a:lnTo>
                    <a:pt x="22" y="1684"/>
                  </a:lnTo>
                  <a:lnTo>
                    <a:pt x="40" y="1583"/>
                  </a:lnTo>
                  <a:lnTo>
                    <a:pt x="62" y="1484"/>
                  </a:lnTo>
                  <a:lnTo>
                    <a:pt x="91" y="1388"/>
                  </a:lnTo>
                  <a:lnTo>
                    <a:pt x="122" y="1294"/>
                  </a:lnTo>
                  <a:lnTo>
                    <a:pt x="159" y="1203"/>
                  </a:lnTo>
                  <a:lnTo>
                    <a:pt x="207" y="1101"/>
                  </a:lnTo>
                  <a:lnTo>
                    <a:pt x="261" y="1003"/>
                  </a:lnTo>
                  <a:lnTo>
                    <a:pt x="318" y="908"/>
                  </a:lnTo>
                  <a:lnTo>
                    <a:pt x="381" y="818"/>
                  </a:lnTo>
                  <a:lnTo>
                    <a:pt x="448" y="730"/>
                  </a:lnTo>
                  <a:lnTo>
                    <a:pt x="520" y="648"/>
                  </a:lnTo>
                  <a:lnTo>
                    <a:pt x="598" y="571"/>
                  </a:lnTo>
                  <a:lnTo>
                    <a:pt x="678" y="497"/>
                  </a:lnTo>
                  <a:lnTo>
                    <a:pt x="763" y="429"/>
                  </a:lnTo>
                  <a:lnTo>
                    <a:pt x="851" y="364"/>
                  </a:lnTo>
                  <a:lnTo>
                    <a:pt x="944" y="303"/>
                  </a:lnTo>
                  <a:lnTo>
                    <a:pt x="1041" y="248"/>
                  </a:lnTo>
                  <a:lnTo>
                    <a:pt x="1141" y="197"/>
                  </a:lnTo>
                  <a:lnTo>
                    <a:pt x="1244" y="150"/>
                  </a:lnTo>
                  <a:lnTo>
                    <a:pt x="1352" y="111"/>
                  </a:lnTo>
                  <a:lnTo>
                    <a:pt x="1461" y="78"/>
                  </a:lnTo>
                  <a:lnTo>
                    <a:pt x="1572" y="49"/>
                  </a:lnTo>
                  <a:lnTo>
                    <a:pt x="1685" y="27"/>
                  </a:lnTo>
                  <a:lnTo>
                    <a:pt x="1800" y="13"/>
                  </a:lnTo>
                  <a:lnTo>
                    <a:pt x="1916" y="3"/>
                  </a:lnTo>
                  <a:lnTo>
                    <a:pt x="203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230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Zapewnienie warunków dla rozwoju zastosowań </a:t>
            </a:r>
            <a:r>
              <a:rPr lang="pl-PL" altLang="pl-PL" sz="1300" dirty="0" err="1">
                <a:solidFill>
                  <a:srgbClr val="000000"/>
                </a:solidFill>
                <a:latin typeface="Calibri" pitchFamily="34" charset="0"/>
              </a:rPr>
              <a:t>blockchain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 w różnych sektorach gospodarki oraz w sektorze publicznym</a:t>
            </a:r>
            <a:b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</a:b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Uruchomieni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projektów wykorzystujących </a:t>
            </a:r>
            <a:r>
              <a:rPr lang="pl-PL" altLang="pl-PL" sz="1300" dirty="0" err="1">
                <a:solidFill>
                  <a:srgbClr val="000000"/>
                </a:solidFill>
                <a:latin typeface="Calibri" pitchFamily="34" charset="0"/>
              </a:rPr>
              <a:t>blockchain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 w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administracji / z udziałem administracji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/>
            </a:r>
            <a:b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</a:b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Przygotowanie założeń polityki państwa w zakresie zastosowania technologii rejestrów rozproszonych/</a:t>
            </a:r>
            <a:r>
              <a:rPr lang="pl-PL" altLang="pl-PL" sz="1300" dirty="0" err="1">
                <a:solidFill>
                  <a:srgbClr val="000000"/>
                </a:solidFill>
                <a:latin typeface="Calibri" pitchFamily="34" charset="0"/>
              </a:rPr>
              <a:t>blockchain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 oraz programowania wdrożeń w tej dziedzinie</a:t>
            </a:r>
          </a:p>
        </p:txBody>
      </p:sp>
      <p:sp>
        <p:nvSpPr>
          <p:cNvPr id="3" name="Rectangle 2"/>
          <p:cNvSpPr/>
          <p:nvPr/>
        </p:nvSpPr>
        <p:spPr>
          <a:xfrm rot="914558">
            <a:off x="5529062" y="4102082"/>
            <a:ext cx="3744416" cy="504056"/>
          </a:xfrm>
          <a:prstGeom prst="rect">
            <a:avLst/>
          </a:prstGeom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rumień rozpoczął prace po redefinicji zakresu działania</a:t>
            </a:r>
            <a:endParaRPr lang="en-US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5695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44488" y="97140"/>
            <a:ext cx="8072438" cy="831850"/>
          </a:xfrm>
        </p:spPr>
        <p:txBody>
          <a:bodyPr/>
          <a:lstStyle/>
          <a:p>
            <a:r>
              <a:rPr lang="pl-PL" altLang="pl-PL" dirty="0" smtClean="0">
                <a:solidFill>
                  <a:srgbClr val="0166B6"/>
                </a:solidFill>
              </a:rPr>
              <a:t>Zakres prac strumienia </a:t>
            </a:r>
            <a:r>
              <a:rPr lang="pl-PL" altLang="pl-PL" dirty="0" smtClean="0">
                <a:solidFill>
                  <a:srgbClr val="DC6E00"/>
                </a:solidFill>
              </a:rPr>
              <a:t>Rejestry Rozproszone </a:t>
            </a:r>
            <a:r>
              <a:rPr lang="pl-PL" altLang="pl-PL" dirty="0" smtClean="0">
                <a:solidFill>
                  <a:srgbClr val="DC6E00"/>
                </a:solidFill>
              </a:rPr>
              <a:t/>
            </a:r>
            <a:br>
              <a:rPr lang="pl-PL" altLang="pl-PL" dirty="0" smtClean="0">
                <a:solidFill>
                  <a:srgbClr val="DC6E00"/>
                </a:solidFill>
              </a:rPr>
            </a:br>
            <a:r>
              <a:rPr lang="pl-PL" altLang="pl-PL" dirty="0" smtClean="0">
                <a:solidFill>
                  <a:srgbClr val="0166B6"/>
                </a:solidFill>
              </a:rPr>
              <a:t>realizowany jest w </a:t>
            </a:r>
            <a:r>
              <a:rPr lang="pl-PL" altLang="pl-PL" dirty="0" smtClean="0">
                <a:solidFill>
                  <a:srgbClr val="0166B6"/>
                </a:solidFill>
              </a:rPr>
              <a:t>ramach </a:t>
            </a:r>
            <a:r>
              <a:rPr lang="pl-PL" altLang="pl-PL" dirty="0" smtClean="0">
                <a:solidFill>
                  <a:srgbClr val="0166B6"/>
                </a:solidFill>
              </a:rPr>
              <a:t>7 działań </a:t>
            </a:r>
            <a:endParaRPr lang="pl-PL" dirty="0"/>
          </a:p>
        </p:txBody>
      </p:sp>
      <p:graphicFrame>
        <p:nvGraphicFramePr>
          <p:cNvPr id="14" name="Tabe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5681031"/>
              </p:ext>
            </p:extLst>
          </p:nvPr>
        </p:nvGraphicFramePr>
        <p:xfrm>
          <a:off x="200473" y="1052736"/>
          <a:ext cx="9505055" cy="4830212"/>
        </p:xfrm>
        <a:graphic>
          <a:graphicData uri="http://schemas.openxmlformats.org/drawingml/2006/table">
            <a:tbl>
              <a:tblPr firstRow="1" firstCol="1" bandRow="1">
                <a:tableStyleId>{9D7B26C5-4107-4FEC-AEDC-1716B250A1EF}</a:tableStyleId>
              </a:tblPr>
              <a:tblGrid>
                <a:gridCol w="432047"/>
                <a:gridCol w="989645"/>
                <a:gridCol w="103065"/>
                <a:gridCol w="2762721"/>
                <a:gridCol w="1977217"/>
                <a:gridCol w="1008112"/>
                <a:gridCol w="2232248"/>
              </a:tblGrid>
              <a:tr h="1583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Sta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zaawansowania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Oczekiwane zakończenie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komentarz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1583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1.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Weryfikacja dotąd zidentyfikowanych barier prawnych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Q2.2019</a:t>
                      </a: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do opracowania w ramach grupy roboczej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1583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2.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Potencjalne projekty 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2.1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aplikacja historia pojazdu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Q2.2019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COI – faza opracowania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2.2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err="1">
                          <a:effectLst/>
                        </a:rPr>
                        <a:t>eCMR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TBD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Strumień e-Transport i e-Przepływy </a:t>
                      </a:r>
                      <a:r>
                        <a:rPr lang="pl-PL" sz="1000" dirty="0" smtClean="0">
                          <a:effectLst/>
                        </a:rPr>
                        <a:t>Towarów – faza</a:t>
                      </a:r>
                      <a:r>
                        <a:rPr lang="pl-PL" sz="1000" baseline="0" dirty="0" smtClean="0">
                          <a:effectLst/>
                        </a:rPr>
                        <a:t> koncepcyjna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2.3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p</a:t>
                      </a:r>
                      <a:r>
                        <a:rPr lang="pl-PL" sz="1000" dirty="0" smtClean="0">
                          <a:effectLst/>
                        </a:rPr>
                        <a:t>rosta </a:t>
                      </a:r>
                      <a:r>
                        <a:rPr lang="pl-PL" sz="1000" dirty="0">
                          <a:effectLst/>
                        </a:rPr>
                        <a:t>spółka akcyjna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Q2.2019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smtClean="0">
                          <a:effectLst/>
                        </a:rPr>
                        <a:t>dostosowanie</a:t>
                      </a:r>
                      <a:r>
                        <a:rPr lang="pl-PL" sz="1000" baseline="0" smtClean="0">
                          <a:effectLst/>
                        </a:rPr>
                        <a:t> prawa 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2.4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securities tokens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TBD</a:t>
                      </a: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Porozumienie z GPW – faz koncepcyjna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4749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2.5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DTM w U-space 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Q3.2019</a:t>
                      </a: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 faza koncepcyjna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3.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Program prac badawczych (algorytmy, protokoły kryptograficzne, </a:t>
                      </a:r>
                      <a:r>
                        <a:rPr lang="pl-PL" sz="1000" dirty="0" smtClean="0">
                          <a:effectLst/>
                        </a:rPr>
                        <a:t>konsensus, </a:t>
                      </a:r>
                      <a:r>
                        <a:rPr lang="pl-PL" sz="1000" dirty="0" err="1" smtClean="0">
                          <a:effectLst/>
                        </a:rPr>
                        <a:t>kryptoekonomia</a:t>
                      </a:r>
                      <a:r>
                        <a:rPr lang="pl-PL" sz="1000" dirty="0" smtClean="0">
                          <a:effectLst/>
                        </a:rPr>
                        <a:t>,</a:t>
                      </a:r>
                      <a:r>
                        <a:rPr lang="pl-PL" sz="1000" baseline="0" dirty="0" smtClean="0">
                          <a:effectLst/>
                        </a:rPr>
                        <a:t> </a:t>
                      </a:r>
                      <a:r>
                        <a:rPr lang="pl-PL" sz="1000" dirty="0" smtClean="0">
                          <a:effectLst/>
                        </a:rPr>
                        <a:t>rozwój </a:t>
                      </a:r>
                      <a:r>
                        <a:rPr lang="pl-PL" sz="1000" dirty="0">
                          <a:effectLst/>
                        </a:rPr>
                        <a:t>standardów (ERC20))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Q1.2019</a:t>
                      </a: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Korelacja z e-edukacja (poziom akademicki)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4.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Poprawa świadomości, potencjalnych zastosowań, ograniczeń, promocja dobrych praktyk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 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do opracowania w ramach grupy roboczej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4.1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Program dla administracji rządowej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Q3.2019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4.2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Program dla samorządów 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Q3.2019</a:t>
                      </a: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1341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5.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Wykorzystanie potencjału innowacyjności w sektorze technologii finansowych (porozumienie w KNF w sprawie Innovation Hub)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 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zadanie</a:t>
                      </a:r>
                      <a:r>
                        <a:rPr lang="pl-PL" sz="1000" baseline="0" dirty="0" smtClean="0">
                          <a:effectLst/>
                        </a:rPr>
                        <a:t> ciągłe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6.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Współpraca międzynarodowa (</a:t>
                      </a:r>
                      <a:r>
                        <a:rPr lang="pl-PL" sz="1000" dirty="0" err="1">
                          <a:effectLst/>
                        </a:rPr>
                        <a:t>European</a:t>
                      </a:r>
                      <a:r>
                        <a:rPr lang="pl-PL" sz="1000" dirty="0">
                          <a:effectLst/>
                        </a:rPr>
                        <a:t> </a:t>
                      </a:r>
                      <a:r>
                        <a:rPr lang="pl-PL" sz="1000" dirty="0" err="1">
                          <a:effectLst/>
                        </a:rPr>
                        <a:t>Blockchain</a:t>
                      </a:r>
                      <a:r>
                        <a:rPr lang="pl-PL" sz="1000" dirty="0">
                          <a:effectLst/>
                        </a:rPr>
                        <a:t> </a:t>
                      </a:r>
                      <a:r>
                        <a:rPr lang="pl-PL" sz="1000" dirty="0" err="1">
                          <a:effectLst/>
                        </a:rPr>
                        <a:t>Partnership</a:t>
                      </a:r>
                      <a:r>
                        <a:rPr lang="pl-PL" sz="1000" dirty="0">
                          <a:effectLst/>
                        </a:rPr>
                        <a:t>, ITU </a:t>
                      </a:r>
                      <a:r>
                        <a:rPr lang="pl-PL" sz="1000" dirty="0" err="1">
                          <a:effectLst/>
                        </a:rPr>
                        <a:t>Focus</a:t>
                      </a:r>
                      <a:r>
                        <a:rPr lang="pl-PL" sz="1000" dirty="0">
                          <a:effectLst/>
                        </a:rPr>
                        <a:t> </a:t>
                      </a:r>
                      <a:r>
                        <a:rPr lang="pl-PL" sz="1000" dirty="0" err="1">
                          <a:effectLst/>
                        </a:rPr>
                        <a:t>Group</a:t>
                      </a:r>
                      <a:r>
                        <a:rPr lang="pl-PL" sz="1000" dirty="0">
                          <a:effectLst/>
                        </a:rPr>
                        <a:t> of DLT)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zadanie ciągłe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.</a:t>
                      </a: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523" marR="60523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pracowanie założeń</a:t>
                      </a:r>
                      <a:r>
                        <a:rPr lang="pl-PL" sz="10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polityki państwa </a:t>
                      </a:r>
                      <a:r>
                        <a:rPr lang="pl-PL" sz="10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la zastosowań </a:t>
                      </a:r>
                      <a:r>
                        <a:rPr lang="pl-PL" sz="1000" baseline="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lockchain</a:t>
                      </a: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Q2.2019</a:t>
                      </a: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523" marR="60523" marT="0" marB="0"/>
                </a:tc>
              </a:tr>
            </a:tbl>
          </a:graphicData>
        </a:graphic>
      </p:graphicFrame>
      <p:sp>
        <p:nvSpPr>
          <p:cNvPr id="15" name="clipart_tick"/>
          <p:cNvSpPr>
            <a:spLocks noChangeAspect="1"/>
          </p:cNvSpPr>
          <p:nvPr/>
        </p:nvSpPr>
        <p:spPr bwMode="gray">
          <a:xfrm>
            <a:off x="5484686" y="1405611"/>
            <a:ext cx="182272" cy="196459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" name="clipart_tick"/>
          <p:cNvSpPr>
            <a:spLocks noChangeAspect="1"/>
          </p:cNvSpPr>
          <p:nvPr/>
        </p:nvSpPr>
        <p:spPr bwMode="gray">
          <a:xfrm>
            <a:off x="5476239" y="4890531"/>
            <a:ext cx="182272" cy="196459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8" name="clipart_tick"/>
          <p:cNvSpPr>
            <a:spLocks noChangeAspect="1"/>
          </p:cNvSpPr>
          <p:nvPr/>
        </p:nvSpPr>
        <p:spPr bwMode="gray">
          <a:xfrm>
            <a:off x="5467016" y="5277429"/>
            <a:ext cx="182272" cy="196459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9" name="Arc 162"/>
          <p:cNvSpPr/>
          <p:nvPr>
            <p:custDataLst>
              <p:tags r:id="rId1"/>
            </p:custDataLst>
          </p:nvPr>
        </p:nvSpPr>
        <p:spPr bwMode="gray">
          <a:xfrm>
            <a:off x="5430754" y="1895258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0" name="Arc 162"/>
          <p:cNvSpPr/>
          <p:nvPr>
            <p:custDataLst>
              <p:tags r:id="rId2"/>
            </p:custDataLst>
          </p:nvPr>
        </p:nvSpPr>
        <p:spPr bwMode="gray">
          <a:xfrm>
            <a:off x="5438835" y="2218966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2" name="Arc 162"/>
          <p:cNvSpPr/>
          <p:nvPr>
            <p:custDataLst>
              <p:tags r:id="rId3"/>
            </p:custDataLst>
          </p:nvPr>
        </p:nvSpPr>
        <p:spPr bwMode="gray">
          <a:xfrm>
            <a:off x="5451301" y="2816015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3" name="Arc 162"/>
          <p:cNvSpPr/>
          <p:nvPr>
            <p:custDataLst>
              <p:tags r:id="rId4"/>
            </p:custDataLst>
          </p:nvPr>
        </p:nvSpPr>
        <p:spPr bwMode="gray">
          <a:xfrm>
            <a:off x="5455311" y="3209251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4" name="Arc 162"/>
          <p:cNvSpPr/>
          <p:nvPr>
            <p:custDataLst>
              <p:tags r:id="rId5"/>
            </p:custDataLst>
          </p:nvPr>
        </p:nvSpPr>
        <p:spPr bwMode="gray">
          <a:xfrm>
            <a:off x="5451301" y="3609024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7" name="Arc 162"/>
          <p:cNvSpPr/>
          <p:nvPr>
            <p:custDataLst>
              <p:tags r:id="rId6"/>
            </p:custDataLst>
          </p:nvPr>
        </p:nvSpPr>
        <p:spPr bwMode="gray">
          <a:xfrm>
            <a:off x="5446088" y="3946893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8" name="Arc 162"/>
          <p:cNvSpPr/>
          <p:nvPr>
            <p:custDataLst>
              <p:tags r:id="rId7"/>
            </p:custDataLst>
          </p:nvPr>
        </p:nvSpPr>
        <p:spPr bwMode="gray">
          <a:xfrm>
            <a:off x="5448384" y="4300433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9" name="Arc 162"/>
          <p:cNvSpPr/>
          <p:nvPr>
            <p:custDataLst>
              <p:tags r:id="rId8"/>
            </p:custDataLst>
          </p:nvPr>
        </p:nvSpPr>
        <p:spPr bwMode="gray">
          <a:xfrm>
            <a:off x="5438835" y="4595482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30" name="Arc 162"/>
          <p:cNvSpPr/>
          <p:nvPr>
            <p:custDataLst>
              <p:tags r:id="rId9"/>
            </p:custDataLst>
          </p:nvPr>
        </p:nvSpPr>
        <p:spPr bwMode="gray">
          <a:xfrm>
            <a:off x="5451301" y="5536547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5" name="Arc 162"/>
          <p:cNvSpPr/>
          <p:nvPr>
            <p:custDataLst>
              <p:tags r:id="rId10"/>
            </p:custDataLst>
          </p:nvPr>
        </p:nvSpPr>
        <p:spPr bwMode="gray">
          <a:xfrm>
            <a:off x="5437432" y="2514566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254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792289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02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biznesowy: Bogusław Śliwczyński (ILiM) </a:t>
            </a: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y: Adrian Mazur (MIiB) </a:t>
            </a: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 smtClean="0">
                <a:solidFill>
                  <a:srgbClr val="0166B6"/>
                </a:solidFill>
              </a:rPr>
              <a:t>Strumień</a:t>
            </a:r>
            <a:r>
              <a:rPr lang="pl-PL" altLang="pl-PL" dirty="0" smtClean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e-Transport i e-Przepływy Towarów </a:t>
            </a:r>
            <a:r>
              <a:rPr lang="pl-PL" altLang="pl-PL" dirty="0" smtClean="0">
                <a:solidFill>
                  <a:srgbClr val="0166B6"/>
                </a:solidFill>
              </a:rPr>
              <a:t>zajmuje się centralizacją systemów zarządzania ruchem oraz udrożnieniem łańcucha dostaw</a:t>
            </a:r>
          </a:p>
        </p:txBody>
      </p:sp>
      <p:sp>
        <p:nvSpPr>
          <p:cNvPr id="52" name="FlowTriangle"/>
          <p:cNvSpPr>
            <a:spLocks noChangeArrowheads="1"/>
          </p:cNvSpPr>
          <p:nvPr/>
        </p:nvSpPr>
        <p:spPr bwMode="gray">
          <a:xfrm rot="5400000">
            <a:off x="4122663" y="4273847"/>
            <a:ext cx="1738709" cy="234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84419" tIns="42210" rIns="84419" bIns="42210" anchor="ctr"/>
          <a:lstStyle/>
          <a:p>
            <a:pPr algn="ctr">
              <a:defRPr/>
            </a:pPr>
            <a:endParaRPr lang="pl-PL" sz="13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22" name="Text Placeholder 2"/>
          <p:cNvSpPr txBox="1">
            <a:spLocks/>
          </p:cNvSpPr>
          <p:nvPr/>
        </p:nvSpPr>
        <p:spPr bwMode="auto">
          <a:xfrm>
            <a:off x="5202371" y="3380703"/>
            <a:ext cx="4287440" cy="1403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500" tIns="11700" rIns="19500" bIns="11700">
            <a:spAutoFit/>
          </a:bodyPr>
          <a:lstStyle/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Ukończenie </a:t>
            </a:r>
            <a:r>
              <a:rPr lang="pl-PL" altLang="pl-PL" sz="1300" dirty="0" smtClean="0">
                <a:latin typeface="Calibri" pitchFamily="34" charset="0"/>
              </a:rPr>
              <a:t>budowy </a:t>
            </a:r>
            <a:r>
              <a:rPr lang="pl-PL" altLang="pl-PL" sz="1300" b="1" dirty="0" smtClean="0">
                <a:latin typeface="Calibri" pitchFamily="34" charset="0"/>
              </a:rPr>
              <a:t>Krajowego Punktu Dostępowego 1</a:t>
            </a:r>
            <a:endParaRPr lang="pl-PL" altLang="pl-PL" sz="1300" b="1" dirty="0">
              <a:latin typeface="Calibri" pitchFamily="34" charset="0"/>
            </a:endParaRP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latin typeface="Calibri" pitchFamily="34" charset="0"/>
              </a:rPr>
              <a:t>Wdrożenie </a:t>
            </a:r>
            <a:r>
              <a:rPr lang="pl-PL" altLang="pl-PL" sz="1300" b="1" dirty="0" smtClean="0">
                <a:latin typeface="Calibri" pitchFamily="34" charset="0"/>
              </a:rPr>
              <a:t>usług cyfrowych </a:t>
            </a:r>
            <a:r>
              <a:rPr lang="pl-PL" altLang="pl-PL" sz="1300" b="1" dirty="0" err="1" smtClean="0">
                <a:latin typeface="Calibri" pitchFamily="34" charset="0"/>
              </a:rPr>
              <a:t>synchromodalnego</a:t>
            </a:r>
            <a:r>
              <a:rPr lang="pl-PL" altLang="pl-PL" sz="1300" b="1" dirty="0" smtClean="0">
                <a:latin typeface="Calibri" pitchFamily="34" charset="0"/>
              </a:rPr>
              <a:t> zarządzania operacjami portowymi </a:t>
            </a:r>
            <a:r>
              <a:rPr lang="pl-PL" altLang="pl-PL" sz="1300" dirty="0" smtClean="0">
                <a:latin typeface="Calibri" pitchFamily="34" charset="0"/>
              </a:rPr>
              <a:t>dla transportu intermodalnego (e-</a:t>
            </a:r>
            <a:r>
              <a:rPr lang="pl-PL" altLang="pl-PL" sz="1300" dirty="0" err="1" smtClean="0">
                <a:latin typeface="Calibri" pitchFamily="34" charset="0"/>
              </a:rPr>
              <a:t>Impact</a:t>
            </a:r>
            <a:r>
              <a:rPr lang="pl-PL" altLang="pl-PL" sz="1300" dirty="0" smtClean="0">
                <a:latin typeface="Calibri" pitchFamily="34" charset="0"/>
              </a:rPr>
              <a:t>)</a:t>
            </a: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latin typeface="Calibri" pitchFamily="34" charset="0"/>
              </a:rPr>
              <a:t>Wdrożenie systemu </a:t>
            </a:r>
            <a:r>
              <a:rPr lang="pl-PL" altLang="pl-PL" sz="1300" b="1" dirty="0" smtClean="0">
                <a:latin typeface="Calibri" pitchFamily="34" charset="0"/>
              </a:rPr>
              <a:t>Zarządzania Przestrzenią Parkingową dla Pojazdów</a:t>
            </a:r>
            <a:endParaRPr lang="pl-PL" altLang="pl-PL" sz="1300" b="1" dirty="0">
              <a:latin typeface="Calibri" pitchFamily="34" charset="0"/>
            </a:endParaRP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357156" y="3008171"/>
            <a:ext cx="2702708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6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2578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Utworzenie </a:t>
            </a: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zintegrowanej wysokopoziomowej Architektury usług ICT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i wdrożenie </a:t>
            </a: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zintegrowanych systemów informatycznych zarządzania transportem </a:t>
            </a:r>
            <a:b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</a:b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i ruchem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– drogowym, kolejowym, morskim, lotniczym </a:t>
            </a: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Standaryzacja wymiany danych transportowych </a:t>
            </a:r>
            <a:b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</a:b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i celnych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w globalnych łańcuchach dostaw wg wymagań e-Freight Common Framework for ICT</a:t>
            </a: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Integracja procesowa systemów administracji podatkowej, celnej i drogowej </a:t>
            </a: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Upraszczanie procedur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administracyjnych celnych </a:t>
            </a:r>
            <a:b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</a:b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i portowych oraz w transporcie</a:t>
            </a: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21" name="Group 354"/>
          <p:cNvGrpSpPr>
            <a:grpSpLocks noChangeAspect="1"/>
          </p:cNvGrpSpPr>
          <p:nvPr/>
        </p:nvGrpSpPr>
        <p:grpSpPr>
          <a:xfrm>
            <a:off x="718517" y="1947792"/>
            <a:ext cx="685479" cy="666029"/>
            <a:chOff x="1117349" y="1890245"/>
            <a:chExt cx="269866" cy="262206"/>
          </a:xfrm>
        </p:grpSpPr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1190278" y="2026172"/>
              <a:ext cx="14472" cy="17026"/>
            </a:xfrm>
            <a:custGeom>
              <a:avLst/>
              <a:gdLst>
                <a:gd name="T0" fmla="*/ 101 w 204"/>
                <a:gd name="T1" fmla="*/ 0 h 239"/>
                <a:gd name="T2" fmla="*/ 123 w 204"/>
                <a:gd name="T3" fmla="*/ 5 h 239"/>
                <a:gd name="T4" fmla="*/ 141 w 204"/>
                <a:gd name="T5" fmla="*/ 13 h 239"/>
                <a:gd name="T6" fmla="*/ 156 w 204"/>
                <a:gd name="T7" fmla="*/ 25 h 239"/>
                <a:gd name="T8" fmla="*/ 168 w 204"/>
                <a:gd name="T9" fmla="*/ 42 h 239"/>
                <a:gd name="T10" fmla="*/ 176 w 204"/>
                <a:gd name="T11" fmla="*/ 59 h 239"/>
                <a:gd name="T12" fmla="*/ 179 w 204"/>
                <a:gd name="T13" fmla="*/ 79 h 239"/>
                <a:gd name="T14" fmla="*/ 178 w 204"/>
                <a:gd name="T15" fmla="*/ 98 h 239"/>
                <a:gd name="T16" fmla="*/ 191 w 204"/>
                <a:gd name="T17" fmla="*/ 113 h 239"/>
                <a:gd name="T18" fmla="*/ 199 w 204"/>
                <a:gd name="T19" fmla="*/ 131 h 239"/>
                <a:gd name="T20" fmla="*/ 204 w 204"/>
                <a:gd name="T21" fmla="*/ 150 h 239"/>
                <a:gd name="T22" fmla="*/ 204 w 204"/>
                <a:gd name="T23" fmla="*/ 169 h 239"/>
                <a:gd name="T24" fmla="*/ 198 w 204"/>
                <a:gd name="T25" fmla="*/ 188 h 239"/>
                <a:gd name="T26" fmla="*/ 189 w 204"/>
                <a:gd name="T27" fmla="*/ 206 h 239"/>
                <a:gd name="T28" fmla="*/ 175 w 204"/>
                <a:gd name="T29" fmla="*/ 221 h 239"/>
                <a:gd name="T30" fmla="*/ 158 w 204"/>
                <a:gd name="T31" fmla="*/ 231 h 239"/>
                <a:gd name="T32" fmla="*/ 141 w 204"/>
                <a:gd name="T33" fmla="*/ 238 h 239"/>
                <a:gd name="T34" fmla="*/ 122 w 204"/>
                <a:gd name="T35" fmla="*/ 239 h 239"/>
                <a:gd name="T36" fmla="*/ 105 w 204"/>
                <a:gd name="T37" fmla="*/ 238 h 239"/>
                <a:gd name="T38" fmla="*/ 89 w 204"/>
                <a:gd name="T39" fmla="*/ 233 h 239"/>
                <a:gd name="T40" fmla="*/ 74 w 204"/>
                <a:gd name="T41" fmla="*/ 224 h 239"/>
                <a:gd name="T42" fmla="*/ 34 w 204"/>
                <a:gd name="T43" fmla="*/ 195 h 239"/>
                <a:gd name="T44" fmla="*/ 19 w 204"/>
                <a:gd name="T45" fmla="*/ 181 h 239"/>
                <a:gd name="T46" fmla="*/ 8 w 204"/>
                <a:gd name="T47" fmla="*/ 164 h 239"/>
                <a:gd name="T48" fmla="*/ 3 w 204"/>
                <a:gd name="T49" fmla="*/ 144 h 239"/>
                <a:gd name="T50" fmla="*/ 0 w 204"/>
                <a:gd name="T51" fmla="*/ 124 h 239"/>
                <a:gd name="T52" fmla="*/ 5 w 204"/>
                <a:gd name="T53" fmla="*/ 104 h 239"/>
                <a:gd name="T54" fmla="*/ 20 w 204"/>
                <a:gd name="T55" fmla="*/ 57 h 239"/>
                <a:gd name="T56" fmla="*/ 29 w 204"/>
                <a:gd name="T57" fmla="*/ 37 h 239"/>
                <a:gd name="T58" fmla="*/ 43 w 204"/>
                <a:gd name="T59" fmla="*/ 21 h 239"/>
                <a:gd name="T60" fmla="*/ 60 w 204"/>
                <a:gd name="T61" fmla="*/ 9 h 239"/>
                <a:gd name="T62" fmla="*/ 80 w 204"/>
                <a:gd name="T63" fmla="*/ 2 h 239"/>
                <a:gd name="T64" fmla="*/ 101 w 204"/>
                <a:gd name="T6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4" h="239">
                  <a:moveTo>
                    <a:pt x="101" y="0"/>
                  </a:moveTo>
                  <a:lnTo>
                    <a:pt x="123" y="5"/>
                  </a:lnTo>
                  <a:lnTo>
                    <a:pt x="141" y="13"/>
                  </a:lnTo>
                  <a:lnTo>
                    <a:pt x="156" y="25"/>
                  </a:lnTo>
                  <a:lnTo>
                    <a:pt x="168" y="42"/>
                  </a:lnTo>
                  <a:lnTo>
                    <a:pt x="176" y="59"/>
                  </a:lnTo>
                  <a:lnTo>
                    <a:pt x="179" y="79"/>
                  </a:lnTo>
                  <a:lnTo>
                    <a:pt x="178" y="98"/>
                  </a:lnTo>
                  <a:lnTo>
                    <a:pt x="191" y="113"/>
                  </a:lnTo>
                  <a:lnTo>
                    <a:pt x="199" y="131"/>
                  </a:lnTo>
                  <a:lnTo>
                    <a:pt x="204" y="150"/>
                  </a:lnTo>
                  <a:lnTo>
                    <a:pt x="204" y="169"/>
                  </a:lnTo>
                  <a:lnTo>
                    <a:pt x="198" y="188"/>
                  </a:lnTo>
                  <a:lnTo>
                    <a:pt x="189" y="206"/>
                  </a:lnTo>
                  <a:lnTo>
                    <a:pt x="175" y="221"/>
                  </a:lnTo>
                  <a:lnTo>
                    <a:pt x="158" y="231"/>
                  </a:lnTo>
                  <a:lnTo>
                    <a:pt x="141" y="238"/>
                  </a:lnTo>
                  <a:lnTo>
                    <a:pt x="122" y="239"/>
                  </a:lnTo>
                  <a:lnTo>
                    <a:pt x="105" y="238"/>
                  </a:lnTo>
                  <a:lnTo>
                    <a:pt x="89" y="233"/>
                  </a:lnTo>
                  <a:lnTo>
                    <a:pt x="74" y="224"/>
                  </a:lnTo>
                  <a:lnTo>
                    <a:pt x="34" y="195"/>
                  </a:lnTo>
                  <a:lnTo>
                    <a:pt x="19" y="181"/>
                  </a:lnTo>
                  <a:lnTo>
                    <a:pt x="8" y="164"/>
                  </a:lnTo>
                  <a:lnTo>
                    <a:pt x="3" y="144"/>
                  </a:lnTo>
                  <a:lnTo>
                    <a:pt x="0" y="124"/>
                  </a:lnTo>
                  <a:lnTo>
                    <a:pt x="5" y="104"/>
                  </a:lnTo>
                  <a:lnTo>
                    <a:pt x="20" y="57"/>
                  </a:lnTo>
                  <a:lnTo>
                    <a:pt x="29" y="37"/>
                  </a:lnTo>
                  <a:lnTo>
                    <a:pt x="43" y="21"/>
                  </a:lnTo>
                  <a:lnTo>
                    <a:pt x="60" y="9"/>
                  </a:lnTo>
                  <a:lnTo>
                    <a:pt x="80" y="2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1199926" y="1992119"/>
              <a:ext cx="14189" cy="19580"/>
            </a:xfrm>
            <a:custGeom>
              <a:avLst/>
              <a:gdLst>
                <a:gd name="T0" fmla="*/ 121 w 199"/>
                <a:gd name="T1" fmla="*/ 0 h 275"/>
                <a:gd name="T2" fmla="*/ 143 w 199"/>
                <a:gd name="T3" fmla="*/ 5 h 275"/>
                <a:gd name="T4" fmla="*/ 162 w 199"/>
                <a:gd name="T5" fmla="*/ 14 h 275"/>
                <a:gd name="T6" fmla="*/ 179 w 199"/>
                <a:gd name="T7" fmla="*/ 28 h 275"/>
                <a:gd name="T8" fmla="*/ 190 w 199"/>
                <a:gd name="T9" fmla="*/ 45 h 275"/>
                <a:gd name="T10" fmla="*/ 197 w 199"/>
                <a:gd name="T11" fmla="*/ 65 h 275"/>
                <a:gd name="T12" fmla="*/ 199 w 199"/>
                <a:gd name="T13" fmla="*/ 86 h 275"/>
                <a:gd name="T14" fmla="*/ 195 w 199"/>
                <a:gd name="T15" fmla="*/ 108 h 275"/>
                <a:gd name="T16" fmla="*/ 159 w 199"/>
                <a:gd name="T17" fmla="*/ 219 h 275"/>
                <a:gd name="T18" fmla="*/ 150 w 199"/>
                <a:gd name="T19" fmla="*/ 238 h 275"/>
                <a:gd name="T20" fmla="*/ 137 w 199"/>
                <a:gd name="T21" fmla="*/ 253 h 275"/>
                <a:gd name="T22" fmla="*/ 120 w 199"/>
                <a:gd name="T23" fmla="*/ 265 h 275"/>
                <a:gd name="T24" fmla="*/ 101 w 199"/>
                <a:gd name="T25" fmla="*/ 273 h 275"/>
                <a:gd name="T26" fmla="*/ 82 w 199"/>
                <a:gd name="T27" fmla="*/ 275 h 275"/>
                <a:gd name="T28" fmla="*/ 69 w 199"/>
                <a:gd name="T29" fmla="*/ 274 h 275"/>
                <a:gd name="T30" fmla="*/ 56 w 199"/>
                <a:gd name="T31" fmla="*/ 272 h 275"/>
                <a:gd name="T32" fmla="*/ 35 w 199"/>
                <a:gd name="T33" fmla="*/ 261 h 275"/>
                <a:gd name="T34" fmla="*/ 20 w 199"/>
                <a:gd name="T35" fmla="*/ 248 h 275"/>
                <a:gd name="T36" fmla="*/ 8 w 199"/>
                <a:gd name="T37" fmla="*/ 230 h 275"/>
                <a:gd name="T38" fmla="*/ 1 w 199"/>
                <a:gd name="T39" fmla="*/ 211 h 275"/>
                <a:gd name="T40" fmla="*/ 0 w 199"/>
                <a:gd name="T41" fmla="*/ 190 h 275"/>
                <a:gd name="T42" fmla="*/ 3 w 199"/>
                <a:gd name="T43" fmla="*/ 168 h 275"/>
                <a:gd name="T44" fmla="*/ 39 w 199"/>
                <a:gd name="T45" fmla="*/ 57 h 275"/>
                <a:gd name="T46" fmla="*/ 49 w 199"/>
                <a:gd name="T47" fmla="*/ 37 h 275"/>
                <a:gd name="T48" fmla="*/ 63 w 199"/>
                <a:gd name="T49" fmla="*/ 21 h 275"/>
                <a:gd name="T50" fmla="*/ 80 w 199"/>
                <a:gd name="T51" fmla="*/ 10 h 275"/>
                <a:gd name="T52" fmla="*/ 100 w 199"/>
                <a:gd name="T53" fmla="*/ 3 h 275"/>
                <a:gd name="T54" fmla="*/ 121 w 199"/>
                <a:gd name="T55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9" h="275">
                  <a:moveTo>
                    <a:pt x="121" y="0"/>
                  </a:moveTo>
                  <a:lnTo>
                    <a:pt x="143" y="5"/>
                  </a:lnTo>
                  <a:lnTo>
                    <a:pt x="162" y="14"/>
                  </a:lnTo>
                  <a:lnTo>
                    <a:pt x="179" y="28"/>
                  </a:lnTo>
                  <a:lnTo>
                    <a:pt x="190" y="45"/>
                  </a:lnTo>
                  <a:lnTo>
                    <a:pt x="197" y="65"/>
                  </a:lnTo>
                  <a:lnTo>
                    <a:pt x="199" y="86"/>
                  </a:lnTo>
                  <a:lnTo>
                    <a:pt x="195" y="108"/>
                  </a:lnTo>
                  <a:lnTo>
                    <a:pt x="159" y="219"/>
                  </a:lnTo>
                  <a:lnTo>
                    <a:pt x="150" y="238"/>
                  </a:lnTo>
                  <a:lnTo>
                    <a:pt x="137" y="253"/>
                  </a:lnTo>
                  <a:lnTo>
                    <a:pt x="120" y="265"/>
                  </a:lnTo>
                  <a:lnTo>
                    <a:pt x="101" y="273"/>
                  </a:lnTo>
                  <a:lnTo>
                    <a:pt x="82" y="275"/>
                  </a:lnTo>
                  <a:lnTo>
                    <a:pt x="69" y="274"/>
                  </a:lnTo>
                  <a:lnTo>
                    <a:pt x="56" y="272"/>
                  </a:lnTo>
                  <a:lnTo>
                    <a:pt x="35" y="261"/>
                  </a:lnTo>
                  <a:lnTo>
                    <a:pt x="20" y="248"/>
                  </a:lnTo>
                  <a:lnTo>
                    <a:pt x="8" y="230"/>
                  </a:lnTo>
                  <a:lnTo>
                    <a:pt x="1" y="211"/>
                  </a:lnTo>
                  <a:lnTo>
                    <a:pt x="0" y="190"/>
                  </a:lnTo>
                  <a:lnTo>
                    <a:pt x="3" y="168"/>
                  </a:lnTo>
                  <a:lnTo>
                    <a:pt x="39" y="57"/>
                  </a:lnTo>
                  <a:lnTo>
                    <a:pt x="49" y="37"/>
                  </a:lnTo>
                  <a:lnTo>
                    <a:pt x="63" y="21"/>
                  </a:lnTo>
                  <a:lnTo>
                    <a:pt x="80" y="10"/>
                  </a:lnTo>
                  <a:lnTo>
                    <a:pt x="100" y="3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4" name="Freeform 24"/>
            <p:cNvSpPr>
              <a:spLocks/>
            </p:cNvSpPr>
            <p:nvPr/>
          </p:nvSpPr>
          <p:spPr bwMode="auto">
            <a:xfrm>
              <a:off x="1210993" y="1962607"/>
              <a:ext cx="16459" cy="14756"/>
            </a:xfrm>
            <a:custGeom>
              <a:avLst/>
              <a:gdLst>
                <a:gd name="T0" fmla="*/ 98 w 229"/>
                <a:gd name="T1" fmla="*/ 0 h 211"/>
                <a:gd name="T2" fmla="*/ 147 w 229"/>
                <a:gd name="T3" fmla="*/ 0 h 211"/>
                <a:gd name="T4" fmla="*/ 169 w 229"/>
                <a:gd name="T5" fmla="*/ 3 h 211"/>
                <a:gd name="T6" fmla="*/ 188 w 229"/>
                <a:gd name="T7" fmla="*/ 11 h 211"/>
                <a:gd name="T8" fmla="*/ 205 w 229"/>
                <a:gd name="T9" fmla="*/ 23 h 211"/>
                <a:gd name="T10" fmla="*/ 218 w 229"/>
                <a:gd name="T11" fmla="*/ 41 h 211"/>
                <a:gd name="T12" fmla="*/ 226 w 229"/>
                <a:gd name="T13" fmla="*/ 60 h 211"/>
                <a:gd name="T14" fmla="*/ 229 w 229"/>
                <a:gd name="T15" fmla="*/ 82 h 211"/>
                <a:gd name="T16" fmla="*/ 226 w 229"/>
                <a:gd name="T17" fmla="*/ 102 h 211"/>
                <a:gd name="T18" fmla="*/ 219 w 229"/>
                <a:gd name="T19" fmla="*/ 120 h 211"/>
                <a:gd name="T20" fmla="*/ 208 w 229"/>
                <a:gd name="T21" fmla="*/ 137 h 211"/>
                <a:gd name="T22" fmla="*/ 193 w 229"/>
                <a:gd name="T23" fmla="*/ 149 h 211"/>
                <a:gd name="T24" fmla="*/ 176 w 229"/>
                <a:gd name="T25" fmla="*/ 159 h 211"/>
                <a:gd name="T26" fmla="*/ 156 w 229"/>
                <a:gd name="T27" fmla="*/ 163 h 211"/>
                <a:gd name="T28" fmla="*/ 147 w 229"/>
                <a:gd name="T29" fmla="*/ 179 h 211"/>
                <a:gd name="T30" fmla="*/ 133 w 229"/>
                <a:gd name="T31" fmla="*/ 192 h 211"/>
                <a:gd name="T32" fmla="*/ 118 w 229"/>
                <a:gd name="T33" fmla="*/ 202 h 211"/>
                <a:gd name="T34" fmla="*/ 101 w 229"/>
                <a:gd name="T35" fmla="*/ 208 h 211"/>
                <a:gd name="T36" fmla="*/ 83 w 229"/>
                <a:gd name="T37" fmla="*/ 211 h 211"/>
                <a:gd name="T38" fmla="*/ 70 w 229"/>
                <a:gd name="T39" fmla="*/ 209 h 211"/>
                <a:gd name="T40" fmla="*/ 57 w 229"/>
                <a:gd name="T41" fmla="*/ 206 h 211"/>
                <a:gd name="T42" fmla="*/ 37 w 229"/>
                <a:gd name="T43" fmla="*/ 197 h 211"/>
                <a:gd name="T44" fmla="*/ 21 w 229"/>
                <a:gd name="T45" fmla="*/ 183 h 211"/>
                <a:gd name="T46" fmla="*/ 10 w 229"/>
                <a:gd name="T47" fmla="*/ 166 h 211"/>
                <a:gd name="T48" fmla="*/ 3 w 229"/>
                <a:gd name="T49" fmla="*/ 146 h 211"/>
                <a:gd name="T50" fmla="*/ 0 w 229"/>
                <a:gd name="T51" fmla="*/ 125 h 211"/>
                <a:gd name="T52" fmla="*/ 5 w 229"/>
                <a:gd name="T53" fmla="*/ 103 h 211"/>
                <a:gd name="T54" fmla="*/ 20 w 229"/>
                <a:gd name="T55" fmla="*/ 57 h 211"/>
                <a:gd name="T56" fmla="*/ 29 w 229"/>
                <a:gd name="T57" fmla="*/ 37 h 211"/>
                <a:gd name="T58" fmla="*/ 42 w 229"/>
                <a:gd name="T59" fmla="*/ 22 h 211"/>
                <a:gd name="T60" fmla="*/ 58 w 229"/>
                <a:gd name="T61" fmla="*/ 11 h 211"/>
                <a:gd name="T62" fmla="*/ 77 w 229"/>
                <a:gd name="T63" fmla="*/ 3 h 211"/>
                <a:gd name="T64" fmla="*/ 98 w 229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9" h="211">
                  <a:moveTo>
                    <a:pt x="98" y="0"/>
                  </a:moveTo>
                  <a:lnTo>
                    <a:pt x="147" y="0"/>
                  </a:lnTo>
                  <a:lnTo>
                    <a:pt x="169" y="3"/>
                  </a:lnTo>
                  <a:lnTo>
                    <a:pt x="188" y="11"/>
                  </a:lnTo>
                  <a:lnTo>
                    <a:pt x="205" y="23"/>
                  </a:lnTo>
                  <a:lnTo>
                    <a:pt x="218" y="41"/>
                  </a:lnTo>
                  <a:lnTo>
                    <a:pt x="226" y="60"/>
                  </a:lnTo>
                  <a:lnTo>
                    <a:pt x="229" y="82"/>
                  </a:lnTo>
                  <a:lnTo>
                    <a:pt x="226" y="102"/>
                  </a:lnTo>
                  <a:lnTo>
                    <a:pt x="219" y="120"/>
                  </a:lnTo>
                  <a:lnTo>
                    <a:pt x="208" y="137"/>
                  </a:lnTo>
                  <a:lnTo>
                    <a:pt x="193" y="149"/>
                  </a:lnTo>
                  <a:lnTo>
                    <a:pt x="176" y="159"/>
                  </a:lnTo>
                  <a:lnTo>
                    <a:pt x="156" y="163"/>
                  </a:lnTo>
                  <a:lnTo>
                    <a:pt x="147" y="179"/>
                  </a:lnTo>
                  <a:lnTo>
                    <a:pt x="133" y="192"/>
                  </a:lnTo>
                  <a:lnTo>
                    <a:pt x="118" y="202"/>
                  </a:lnTo>
                  <a:lnTo>
                    <a:pt x="101" y="208"/>
                  </a:lnTo>
                  <a:lnTo>
                    <a:pt x="83" y="211"/>
                  </a:lnTo>
                  <a:lnTo>
                    <a:pt x="70" y="209"/>
                  </a:lnTo>
                  <a:lnTo>
                    <a:pt x="57" y="206"/>
                  </a:lnTo>
                  <a:lnTo>
                    <a:pt x="37" y="197"/>
                  </a:lnTo>
                  <a:lnTo>
                    <a:pt x="21" y="183"/>
                  </a:lnTo>
                  <a:lnTo>
                    <a:pt x="10" y="166"/>
                  </a:lnTo>
                  <a:lnTo>
                    <a:pt x="3" y="146"/>
                  </a:lnTo>
                  <a:lnTo>
                    <a:pt x="0" y="125"/>
                  </a:lnTo>
                  <a:lnTo>
                    <a:pt x="5" y="103"/>
                  </a:lnTo>
                  <a:lnTo>
                    <a:pt x="20" y="57"/>
                  </a:lnTo>
                  <a:lnTo>
                    <a:pt x="29" y="37"/>
                  </a:lnTo>
                  <a:lnTo>
                    <a:pt x="42" y="22"/>
                  </a:lnTo>
                  <a:lnTo>
                    <a:pt x="58" y="11"/>
                  </a:lnTo>
                  <a:lnTo>
                    <a:pt x="77" y="3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1243343" y="1962607"/>
              <a:ext cx="19864" cy="11351"/>
            </a:xfrm>
            <a:custGeom>
              <a:avLst/>
              <a:gdLst>
                <a:gd name="T0" fmla="*/ 82 w 281"/>
                <a:gd name="T1" fmla="*/ 0 h 163"/>
                <a:gd name="T2" fmla="*/ 199 w 281"/>
                <a:gd name="T3" fmla="*/ 0 h 163"/>
                <a:gd name="T4" fmla="*/ 221 w 281"/>
                <a:gd name="T5" fmla="*/ 3 h 163"/>
                <a:gd name="T6" fmla="*/ 241 w 281"/>
                <a:gd name="T7" fmla="*/ 11 h 163"/>
                <a:gd name="T8" fmla="*/ 258 w 281"/>
                <a:gd name="T9" fmla="*/ 23 h 163"/>
                <a:gd name="T10" fmla="*/ 271 w 281"/>
                <a:gd name="T11" fmla="*/ 41 h 163"/>
                <a:gd name="T12" fmla="*/ 279 w 281"/>
                <a:gd name="T13" fmla="*/ 60 h 163"/>
                <a:gd name="T14" fmla="*/ 281 w 281"/>
                <a:gd name="T15" fmla="*/ 82 h 163"/>
                <a:gd name="T16" fmla="*/ 279 w 281"/>
                <a:gd name="T17" fmla="*/ 103 h 163"/>
                <a:gd name="T18" fmla="*/ 271 w 281"/>
                <a:gd name="T19" fmla="*/ 123 h 163"/>
                <a:gd name="T20" fmla="*/ 258 w 281"/>
                <a:gd name="T21" fmla="*/ 140 h 163"/>
                <a:gd name="T22" fmla="*/ 241 w 281"/>
                <a:gd name="T23" fmla="*/ 153 h 163"/>
                <a:gd name="T24" fmla="*/ 221 w 281"/>
                <a:gd name="T25" fmla="*/ 161 h 163"/>
                <a:gd name="T26" fmla="*/ 199 w 281"/>
                <a:gd name="T27" fmla="*/ 163 h 163"/>
                <a:gd name="T28" fmla="*/ 82 w 281"/>
                <a:gd name="T29" fmla="*/ 163 h 163"/>
                <a:gd name="T30" fmla="*/ 61 w 281"/>
                <a:gd name="T31" fmla="*/ 161 h 163"/>
                <a:gd name="T32" fmla="*/ 41 w 281"/>
                <a:gd name="T33" fmla="*/ 153 h 163"/>
                <a:gd name="T34" fmla="*/ 25 w 281"/>
                <a:gd name="T35" fmla="*/ 140 h 163"/>
                <a:gd name="T36" fmla="*/ 12 w 281"/>
                <a:gd name="T37" fmla="*/ 123 h 163"/>
                <a:gd name="T38" fmla="*/ 4 w 281"/>
                <a:gd name="T39" fmla="*/ 103 h 163"/>
                <a:gd name="T40" fmla="*/ 0 w 281"/>
                <a:gd name="T41" fmla="*/ 82 h 163"/>
                <a:gd name="T42" fmla="*/ 4 w 281"/>
                <a:gd name="T43" fmla="*/ 60 h 163"/>
                <a:gd name="T44" fmla="*/ 12 w 281"/>
                <a:gd name="T45" fmla="*/ 41 h 163"/>
                <a:gd name="T46" fmla="*/ 25 w 281"/>
                <a:gd name="T47" fmla="*/ 23 h 163"/>
                <a:gd name="T48" fmla="*/ 41 w 281"/>
                <a:gd name="T49" fmla="*/ 11 h 163"/>
                <a:gd name="T50" fmla="*/ 61 w 281"/>
                <a:gd name="T51" fmla="*/ 3 h 163"/>
                <a:gd name="T52" fmla="*/ 82 w 281"/>
                <a:gd name="T53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81" h="163">
                  <a:moveTo>
                    <a:pt x="82" y="0"/>
                  </a:moveTo>
                  <a:lnTo>
                    <a:pt x="199" y="0"/>
                  </a:lnTo>
                  <a:lnTo>
                    <a:pt x="221" y="3"/>
                  </a:lnTo>
                  <a:lnTo>
                    <a:pt x="241" y="11"/>
                  </a:lnTo>
                  <a:lnTo>
                    <a:pt x="258" y="23"/>
                  </a:lnTo>
                  <a:lnTo>
                    <a:pt x="271" y="41"/>
                  </a:lnTo>
                  <a:lnTo>
                    <a:pt x="279" y="60"/>
                  </a:lnTo>
                  <a:lnTo>
                    <a:pt x="281" y="82"/>
                  </a:lnTo>
                  <a:lnTo>
                    <a:pt x="279" y="103"/>
                  </a:lnTo>
                  <a:lnTo>
                    <a:pt x="271" y="123"/>
                  </a:lnTo>
                  <a:lnTo>
                    <a:pt x="258" y="140"/>
                  </a:lnTo>
                  <a:lnTo>
                    <a:pt x="241" y="153"/>
                  </a:lnTo>
                  <a:lnTo>
                    <a:pt x="221" y="161"/>
                  </a:lnTo>
                  <a:lnTo>
                    <a:pt x="199" y="163"/>
                  </a:lnTo>
                  <a:lnTo>
                    <a:pt x="82" y="163"/>
                  </a:lnTo>
                  <a:lnTo>
                    <a:pt x="61" y="161"/>
                  </a:lnTo>
                  <a:lnTo>
                    <a:pt x="41" y="153"/>
                  </a:lnTo>
                  <a:lnTo>
                    <a:pt x="25" y="140"/>
                  </a:lnTo>
                  <a:lnTo>
                    <a:pt x="12" y="123"/>
                  </a:lnTo>
                  <a:lnTo>
                    <a:pt x="4" y="103"/>
                  </a:lnTo>
                  <a:lnTo>
                    <a:pt x="0" y="82"/>
                  </a:lnTo>
                  <a:lnTo>
                    <a:pt x="4" y="60"/>
                  </a:lnTo>
                  <a:lnTo>
                    <a:pt x="12" y="41"/>
                  </a:lnTo>
                  <a:lnTo>
                    <a:pt x="25" y="23"/>
                  </a:lnTo>
                  <a:lnTo>
                    <a:pt x="41" y="11"/>
                  </a:lnTo>
                  <a:lnTo>
                    <a:pt x="61" y="3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auto">
            <a:xfrm>
              <a:off x="1279382" y="1962607"/>
              <a:ext cx="16175" cy="14756"/>
            </a:xfrm>
            <a:custGeom>
              <a:avLst/>
              <a:gdLst>
                <a:gd name="T0" fmla="*/ 82 w 227"/>
                <a:gd name="T1" fmla="*/ 0 h 211"/>
                <a:gd name="T2" fmla="*/ 130 w 227"/>
                <a:gd name="T3" fmla="*/ 0 h 211"/>
                <a:gd name="T4" fmla="*/ 151 w 227"/>
                <a:gd name="T5" fmla="*/ 3 h 211"/>
                <a:gd name="T6" fmla="*/ 171 w 227"/>
                <a:gd name="T7" fmla="*/ 11 h 211"/>
                <a:gd name="T8" fmla="*/ 187 w 227"/>
                <a:gd name="T9" fmla="*/ 22 h 211"/>
                <a:gd name="T10" fmla="*/ 199 w 227"/>
                <a:gd name="T11" fmla="*/ 37 h 211"/>
                <a:gd name="T12" fmla="*/ 209 w 227"/>
                <a:gd name="T13" fmla="*/ 57 h 211"/>
                <a:gd name="T14" fmla="*/ 224 w 227"/>
                <a:gd name="T15" fmla="*/ 103 h 211"/>
                <a:gd name="T16" fmla="*/ 227 w 227"/>
                <a:gd name="T17" fmla="*/ 125 h 211"/>
                <a:gd name="T18" fmla="*/ 226 w 227"/>
                <a:gd name="T19" fmla="*/ 146 h 211"/>
                <a:gd name="T20" fmla="*/ 219 w 227"/>
                <a:gd name="T21" fmla="*/ 166 h 211"/>
                <a:gd name="T22" fmla="*/ 206 w 227"/>
                <a:gd name="T23" fmla="*/ 183 h 211"/>
                <a:gd name="T24" fmla="*/ 191 w 227"/>
                <a:gd name="T25" fmla="*/ 197 h 211"/>
                <a:gd name="T26" fmla="*/ 171 w 227"/>
                <a:gd name="T27" fmla="*/ 206 h 211"/>
                <a:gd name="T28" fmla="*/ 159 w 227"/>
                <a:gd name="T29" fmla="*/ 209 h 211"/>
                <a:gd name="T30" fmla="*/ 146 w 227"/>
                <a:gd name="T31" fmla="*/ 211 h 211"/>
                <a:gd name="T32" fmla="*/ 128 w 227"/>
                <a:gd name="T33" fmla="*/ 208 h 211"/>
                <a:gd name="T34" fmla="*/ 110 w 227"/>
                <a:gd name="T35" fmla="*/ 202 h 211"/>
                <a:gd name="T36" fmla="*/ 94 w 227"/>
                <a:gd name="T37" fmla="*/ 192 h 211"/>
                <a:gd name="T38" fmla="*/ 82 w 227"/>
                <a:gd name="T39" fmla="*/ 179 h 211"/>
                <a:gd name="T40" fmla="*/ 71 w 227"/>
                <a:gd name="T41" fmla="*/ 163 h 211"/>
                <a:gd name="T42" fmla="*/ 53 w 227"/>
                <a:gd name="T43" fmla="*/ 159 h 211"/>
                <a:gd name="T44" fmla="*/ 35 w 227"/>
                <a:gd name="T45" fmla="*/ 149 h 211"/>
                <a:gd name="T46" fmla="*/ 20 w 227"/>
                <a:gd name="T47" fmla="*/ 137 h 211"/>
                <a:gd name="T48" fmla="*/ 9 w 227"/>
                <a:gd name="T49" fmla="*/ 120 h 211"/>
                <a:gd name="T50" fmla="*/ 2 w 227"/>
                <a:gd name="T51" fmla="*/ 102 h 211"/>
                <a:gd name="T52" fmla="*/ 0 w 227"/>
                <a:gd name="T53" fmla="*/ 82 h 211"/>
                <a:gd name="T54" fmla="*/ 3 w 227"/>
                <a:gd name="T55" fmla="*/ 60 h 211"/>
                <a:gd name="T56" fmla="*/ 11 w 227"/>
                <a:gd name="T57" fmla="*/ 41 h 211"/>
                <a:gd name="T58" fmla="*/ 24 w 227"/>
                <a:gd name="T59" fmla="*/ 23 h 211"/>
                <a:gd name="T60" fmla="*/ 40 w 227"/>
                <a:gd name="T61" fmla="*/ 11 h 211"/>
                <a:gd name="T62" fmla="*/ 60 w 227"/>
                <a:gd name="T63" fmla="*/ 3 h 211"/>
                <a:gd name="T64" fmla="*/ 82 w 227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7" h="211">
                  <a:moveTo>
                    <a:pt x="82" y="0"/>
                  </a:moveTo>
                  <a:lnTo>
                    <a:pt x="130" y="0"/>
                  </a:lnTo>
                  <a:lnTo>
                    <a:pt x="151" y="3"/>
                  </a:lnTo>
                  <a:lnTo>
                    <a:pt x="171" y="11"/>
                  </a:lnTo>
                  <a:lnTo>
                    <a:pt x="187" y="22"/>
                  </a:lnTo>
                  <a:lnTo>
                    <a:pt x="199" y="37"/>
                  </a:lnTo>
                  <a:lnTo>
                    <a:pt x="209" y="57"/>
                  </a:lnTo>
                  <a:lnTo>
                    <a:pt x="224" y="103"/>
                  </a:lnTo>
                  <a:lnTo>
                    <a:pt x="227" y="125"/>
                  </a:lnTo>
                  <a:lnTo>
                    <a:pt x="226" y="146"/>
                  </a:lnTo>
                  <a:lnTo>
                    <a:pt x="219" y="166"/>
                  </a:lnTo>
                  <a:lnTo>
                    <a:pt x="206" y="183"/>
                  </a:lnTo>
                  <a:lnTo>
                    <a:pt x="191" y="197"/>
                  </a:lnTo>
                  <a:lnTo>
                    <a:pt x="171" y="206"/>
                  </a:lnTo>
                  <a:lnTo>
                    <a:pt x="159" y="209"/>
                  </a:lnTo>
                  <a:lnTo>
                    <a:pt x="146" y="211"/>
                  </a:lnTo>
                  <a:lnTo>
                    <a:pt x="128" y="208"/>
                  </a:lnTo>
                  <a:lnTo>
                    <a:pt x="110" y="202"/>
                  </a:lnTo>
                  <a:lnTo>
                    <a:pt x="94" y="192"/>
                  </a:lnTo>
                  <a:lnTo>
                    <a:pt x="82" y="179"/>
                  </a:lnTo>
                  <a:lnTo>
                    <a:pt x="71" y="163"/>
                  </a:lnTo>
                  <a:lnTo>
                    <a:pt x="53" y="159"/>
                  </a:lnTo>
                  <a:lnTo>
                    <a:pt x="35" y="149"/>
                  </a:lnTo>
                  <a:lnTo>
                    <a:pt x="20" y="137"/>
                  </a:lnTo>
                  <a:lnTo>
                    <a:pt x="9" y="120"/>
                  </a:lnTo>
                  <a:lnTo>
                    <a:pt x="2" y="102"/>
                  </a:lnTo>
                  <a:lnTo>
                    <a:pt x="0" y="82"/>
                  </a:lnTo>
                  <a:lnTo>
                    <a:pt x="3" y="60"/>
                  </a:lnTo>
                  <a:lnTo>
                    <a:pt x="11" y="41"/>
                  </a:lnTo>
                  <a:lnTo>
                    <a:pt x="24" y="23"/>
                  </a:lnTo>
                  <a:lnTo>
                    <a:pt x="40" y="11"/>
                  </a:lnTo>
                  <a:lnTo>
                    <a:pt x="60" y="3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292436" y="1992119"/>
              <a:ext cx="14189" cy="19580"/>
            </a:xfrm>
            <a:custGeom>
              <a:avLst/>
              <a:gdLst>
                <a:gd name="T0" fmla="*/ 79 w 200"/>
                <a:gd name="T1" fmla="*/ 0 h 275"/>
                <a:gd name="T2" fmla="*/ 100 w 200"/>
                <a:gd name="T3" fmla="*/ 3 h 275"/>
                <a:gd name="T4" fmla="*/ 119 w 200"/>
                <a:gd name="T5" fmla="*/ 10 h 275"/>
                <a:gd name="T6" fmla="*/ 137 w 200"/>
                <a:gd name="T7" fmla="*/ 21 h 275"/>
                <a:gd name="T8" fmla="*/ 151 w 200"/>
                <a:gd name="T9" fmla="*/ 37 h 275"/>
                <a:gd name="T10" fmla="*/ 160 w 200"/>
                <a:gd name="T11" fmla="*/ 57 h 275"/>
                <a:gd name="T12" fmla="*/ 197 w 200"/>
                <a:gd name="T13" fmla="*/ 168 h 275"/>
                <a:gd name="T14" fmla="*/ 200 w 200"/>
                <a:gd name="T15" fmla="*/ 190 h 275"/>
                <a:gd name="T16" fmla="*/ 198 w 200"/>
                <a:gd name="T17" fmla="*/ 211 h 275"/>
                <a:gd name="T18" fmla="*/ 191 w 200"/>
                <a:gd name="T19" fmla="*/ 230 h 275"/>
                <a:gd name="T20" fmla="*/ 179 w 200"/>
                <a:gd name="T21" fmla="*/ 248 h 275"/>
                <a:gd name="T22" fmla="*/ 163 w 200"/>
                <a:gd name="T23" fmla="*/ 261 h 275"/>
                <a:gd name="T24" fmla="*/ 144 w 200"/>
                <a:gd name="T25" fmla="*/ 272 h 275"/>
                <a:gd name="T26" fmla="*/ 131 w 200"/>
                <a:gd name="T27" fmla="*/ 274 h 275"/>
                <a:gd name="T28" fmla="*/ 118 w 200"/>
                <a:gd name="T29" fmla="*/ 275 h 275"/>
                <a:gd name="T30" fmla="*/ 99 w 200"/>
                <a:gd name="T31" fmla="*/ 273 h 275"/>
                <a:gd name="T32" fmla="*/ 79 w 200"/>
                <a:gd name="T33" fmla="*/ 266 h 275"/>
                <a:gd name="T34" fmla="*/ 63 w 200"/>
                <a:gd name="T35" fmla="*/ 253 h 275"/>
                <a:gd name="T36" fmla="*/ 50 w 200"/>
                <a:gd name="T37" fmla="*/ 238 h 275"/>
                <a:gd name="T38" fmla="*/ 41 w 200"/>
                <a:gd name="T39" fmla="*/ 219 h 275"/>
                <a:gd name="T40" fmla="*/ 5 w 200"/>
                <a:gd name="T41" fmla="*/ 108 h 275"/>
                <a:gd name="T42" fmla="*/ 0 w 200"/>
                <a:gd name="T43" fmla="*/ 86 h 275"/>
                <a:gd name="T44" fmla="*/ 3 w 200"/>
                <a:gd name="T45" fmla="*/ 65 h 275"/>
                <a:gd name="T46" fmla="*/ 10 w 200"/>
                <a:gd name="T47" fmla="*/ 45 h 275"/>
                <a:gd name="T48" fmla="*/ 21 w 200"/>
                <a:gd name="T49" fmla="*/ 28 h 275"/>
                <a:gd name="T50" fmla="*/ 37 w 200"/>
                <a:gd name="T51" fmla="*/ 14 h 275"/>
                <a:gd name="T52" fmla="*/ 57 w 200"/>
                <a:gd name="T53" fmla="*/ 5 h 275"/>
                <a:gd name="T54" fmla="*/ 79 w 200"/>
                <a:gd name="T55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00" h="275">
                  <a:moveTo>
                    <a:pt x="79" y="0"/>
                  </a:moveTo>
                  <a:lnTo>
                    <a:pt x="100" y="3"/>
                  </a:lnTo>
                  <a:lnTo>
                    <a:pt x="119" y="10"/>
                  </a:lnTo>
                  <a:lnTo>
                    <a:pt x="137" y="21"/>
                  </a:lnTo>
                  <a:lnTo>
                    <a:pt x="151" y="37"/>
                  </a:lnTo>
                  <a:lnTo>
                    <a:pt x="160" y="57"/>
                  </a:lnTo>
                  <a:lnTo>
                    <a:pt x="197" y="168"/>
                  </a:lnTo>
                  <a:lnTo>
                    <a:pt x="200" y="190"/>
                  </a:lnTo>
                  <a:lnTo>
                    <a:pt x="198" y="211"/>
                  </a:lnTo>
                  <a:lnTo>
                    <a:pt x="191" y="230"/>
                  </a:lnTo>
                  <a:lnTo>
                    <a:pt x="179" y="248"/>
                  </a:lnTo>
                  <a:lnTo>
                    <a:pt x="163" y="261"/>
                  </a:lnTo>
                  <a:lnTo>
                    <a:pt x="144" y="272"/>
                  </a:lnTo>
                  <a:lnTo>
                    <a:pt x="131" y="274"/>
                  </a:lnTo>
                  <a:lnTo>
                    <a:pt x="118" y="275"/>
                  </a:lnTo>
                  <a:lnTo>
                    <a:pt x="99" y="273"/>
                  </a:lnTo>
                  <a:lnTo>
                    <a:pt x="79" y="266"/>
                  </a:lnTo>
                  <a:lnTo>
                    <a:pt x="63" y="253"/>
                  </a:lnTo>
                  <a:lnTo>
                    <a:pt x="50" y="238"/>
                  </a:lnTo>
                  <a:lnTo>
                    <a:pt x="41" y="219"/>
                  </a:lnTo>
                  <a:lnTo>
                    <a:pt x="5" y="108"/>
                  </a:lnTo>
                  <a:lnTo>
                    <a:pt x="0" y="86"/>
                  </a:lnTo>
                  <a:lnTo>
                    <a:pt x="3" y="65"/>
                  </a:lnTo>
                  <a:lnTo>
                    <a:pt x="10" y="45"/>
                  </a:lnTo>
                  <a:lnTo>
                    <a:pt x="21" y="28"/>
                  </a:lnTo>
                  <a:lnTo>
                    <a:pt x="37" y="14"/>
                  </a:lnTo>
                  <a:lnTo>
                    <a:pt x="57" y="5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1301800" y="2026172"/>
              <a:ext cx="14472" cy="17026"/>
            </a:xfrm>
            <a:custGeom>
              <a:avLst/>
              <a:gdLst>
                <a:gd name="T0" fmla="*/ 102 w 202"/>
                <a:gd name="T1" fmla="*/ 0 h 239"/>
                <a:gd name="T2" fmla="*/ 124 w 202"/>
                <a:gd name="T3" fmla="*/ 2 h 239"/>
                <a:gd name="T4" fmla="*/ 143 w 202"/>
                <a:gd name="T5" fmla="*/ 9 h 239"/>
                <a:gd name="T6" fmla="*/ 161 w 202"/>
                <a:gd name="T7" fmla="*/ 21 h 239"/>
                <a:gd name="T8" fmla="*/ 175 w 202"/>
                <a:gd name="T9" fmla="*/ 37 h 239"/>
                <a:gd name="T10" fmla="*/ 184 w 202"/>
                <a:gd name="T11" fmla="*/ 57 h 239"/>
                <a:gd name="T12" fmla="*/ 199 w 202"/>
                <a:gd name="T13" fmla="*/ 104 h 239"/>
                <a:gd name="T14" fmla="*/ 202 w 202"/>
                <a:gd name="T15" fmla="*/ 124 h 239"/>
                <a:gd name="T16" fmla="*/ 201 w 202"/>
                <a:gd name="T17" fmla="*/ 144 h 239"/>
                <a:gd name="T18" fmla="*/ 195 w 202"/>
                <a:gd name="T19" fmla="*/ 164 h 239"/>
                <a:gd name="T20" fmla="*/ 184 w 202"/>
                <a:gd name="T21" fmla="*/ 181 h 239"/>
                <a:gd name="T22" fmla="*/ 169 w 202"/>
                <a:gd name="T23" fmla="*/ 195 h 239"/>
                <a:gd name="T24" fmla="*/ 130 w 202"/>
                <a:gd name="T25" fmla="*/ 224 h 239"/>
                <a:gd name="T26" fmla="*/ 115 w 202"/>
                <a:gd name="T27" fmla="*/ 233 h 239"/>
                <a:gd name="T28" fmla="*/ 98 w 202"/>
                <a:gd name="T29" fmla="*/ 238 h 239"/>
                <a:gd name="T30" fmla="*/ 81 w 202"/>
                <a:gd name="T31" fmla="*/ 239 h 239"/>
                <a:gd name="T32" fmla="*/ 63 w 202"/>
                <a:gd name="T33" fmla="*/ 238 h 239"/>
                <a:gd name="T34" fmla="*/ 45 w 202"/>
                <a:gd name="T35" fmla="*/ 231 h 239"/>
                <a:gd name="T36" fmla="*/ 29 w 202"/>
                <a:gd name="T37" fmla="*/ 221 h 239"/>
                <a:gd name="T38" fmla="*/ 15 w 202"/>
                <a:gd name="T39" fmla="*/ 206 h 239"/>
                <a:gd name="T40" fmla="*/ 5 w 202"/>
                <a:gd name="T41" fmla="*/ 188 h 239"/>
                <a:gd name="T42" fmla="*/ 0 w 202"/>
                <a:gd name="T43" fmla="*/ 169 h 239"/>
                <a:gd name="T44" fmla="*/ 0 w 202"/>
                <a:gd name="T45" fmla="*/ 150 h 239"/>
                <a:gd name="T46" fmla="*/ 4 w 202"/>
                <a:gd name="T47" fmla="*/ 131 h 239"/>
                <a:gd name="T48" fmla="*/ 13 w 202"/>
                <a:gd name="T49" fmla="*/ 113 h 239"/>
                <a:gd name="T50" fmla="*/ 26 w 202"/>
                <a:gd name="T51" fmla="*/ 98 h 239"/>
                <a:gd name="T52" fmla="*/ 25 w 202"/>
                <a:gd name="T53" fmla="*/ 79 h 239"/>
                <a:gd name="T54" fmla="*/ 28 w 202"/>
                <a:gd name="T55" fmla="*/ 59 h 239"/>
                <a:gd name="T56" fmla="*/ 35 w 202"/>
                <a:gd name="T57" fmla="*/ 42 h 239"/>
                <a:gd name="T58" fmla="*/ 46 w 202"/>
                <a:gd name="T59" fmla="*/ 25 h 239"/>
                <a:gd name="T60" fmla="*/ 63 w 202"/>
                <a:gd name="T61" fmla="*/ 13 h 239"/>
                <a:gd name="T62" fmla="*/ 81 w 202"/>
                <a:gd name="T63" fmla="*/ 5 h 239"/>
                <a:gd name="T64" fmla="*/ 102 w 202"/>
                <a:gd name="T6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2" h="239">
                  <a:moveTo>
                    <a:pt x="102" y="0"/>
                  </a:moveTo>
                  <a:lnTo>
                    <a:pt x="124" y="2"/>
                  </a:lnTo>
                  <a:lnTo>
                    <a:pt x="143" y="9"/>
                  </a:lnTo>
                  <a:lnTo>
                    <a:pt x="161" y="21"/>
                  </a:lnTo>
                  <a:lnTo>
                    <a:pt x="175" y="37"/>
                  </a:lnTo>
                  <a:lnTo>
                    <a:pt x="184" y="57"/>
                  </a:lnTo>
                  <a:lnTo>
                    <a:pt x="199" y="104"/>
                  </a:lnTo>
                  <a:lnTo>
                    <a:pt x="202" y="124"/>
                  </a:lnTo>
                  <a:lnTo>
                    <a:pt x="201" y="144"/>
                  </a:lnTo>
                  <a:lnTo>
                    <a:pt x="195" y="164"/>
                  </a:lnTo>
                  <a:lnTo>
                    <a:pt x="184" y="181"/>
                  </a:lnTo>
                  <a:lnTo>
                    <a:pt x="169" y="195"/>
                  </a:lnTo>
                  <a:lnTo>
                    <a:pt x="130" y="224"/>
                  </a:lnTo>
                  <a:lnTo>
                    <a:pt x="115" y="233"/>
                  </a:lnTo>
                  <a:lnTo>
                    <a:pt x="98" y="238"/>
                  </a:lnTo>
                  <a:lnTo>
                    <a:pt x="81" y="239"/>
                  </a:lnTo>
                  <a:lnTo>
                    <a:pt x="63" y="238"/>
                  </a:lnTo>
                  <a:lnTo>
                    <a:pt x="45" y="231"/>
                  </a:lnTo>
                  <a:lnTo>
                    <a:pt x="29" y="221"/>
                  </a:lnTo>
                  <a:lnTo>
                    <a:pt x="15" y="206"/>
                  </a:lnTo>
                  <a:lnTo>
                    <a:pt x="5" y="188"/>
                  </a:lnTo>
                  <a:lnTo>
                    <a:pt x="0" y="169"/>
                  </a:lnTo>
                  <a:lnTo>
                    <a:pt x="0" y="150"/>
                  </a:lnTo>
                  <a:lnTo>
                    <a:pt x="4" y="131"/>
                  </a:lnTo>
                  <a:lnTo>
                    <a:pt x="13" y="113"/>
                  </a:lnTo>
                  <a:lnTo>
                    <a:pt x="26" y="98"/>
                  </a:lnTo>
                  <a:lnTo>
                    <a:pt x="25" y="79"/>
                  </a:lnTo>
                  <a:lnTo>
                    <a:pt x="28" y="59"/>
                  </a:lnTo>
                  <a:lnTo>
                    <a:pt x="35" y="42"/>
                  </a:lnTo>
                  <a:lnTo>
                    <a:pt x="46" y="25"/>
                  </a:lnTo>
                  <a:lnTo>
                    <a:pt x="63" y="13"/>
                  </a:lnTo>
                  <a:lnTo>
                    <a:pt x="81" y="5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1272855" y="2048023"/>
              <a:ext cx="18161" cy="16459"/>
            </a:xfrm>
            <a:custGeom>
              <a:avLst/>
              <a:gdLst>
                <a:gd name="T0" fmla="*/ 168 w 258"/>
                <a:gd name="T1" fmla="*/ 0 h 231"/>
                <a:gd name="T2" fmla="*/ 188 w 258"/>
                <a:gd name="T3" fmla="*/ 0 h 231"/>
                <a:gd name="T4" fmla="*/ 209 w 258"/>
                <a:gd name="T5" fmla="*/ 6 h 231"/>
                <a:gd name="T6" fmla="*/ 227 w 258"/>
                <a:gd name="T7" fmla="*/ 17 h 231"/>
                <a:gd name="T8" fmla="*/ 242 w 258"/>
                <a:gd name="T9" fmla="*/ 33 h 231"/>
                <a:gd name="T10" fmla="*/ 252 w 258"/>
                <a:gd name="T11" fmla="*/ 52 h 231"/>
                <a:gd name="T12" fmla="*/ 258 w 258"/>
                <a:gd name="T13" fmla="*/ 73 h 231"/>
                <a:gd name="T14" fmla="*/ 257 w 258"/>
                <a:gd name="T15" fmla="*/ 94 h 231"/>
                <a:gd name="T16" fmla="*/ 251 w 258"/>
                <a:gd name="T17" fmla="*/ 113 h 231"/>
                <a:gd name="T18" fmla="*/ 240 w 258"/>
                <a:gd name="T19" fmla="*/ 132 h 231"/>
                <a:gd name="T20" fmla="*/ 224 w 258"/>
                <a:gd name="T21" fmla="*/ 147 h 231"/>
                <a:gd name="T22" fmla="*/ 130 w 258"/>
                <a:gd name="T23" fmla="*/ 216 h 231"/>
                <a:gd name="T24" fmla="*/ 115 w 258"/>
                <a:gd name="T25" fmla="*/ 224 h 231"/>
                <a:gd name="T26" fmla="*/ 98 w 258"/>
                <a:gd name="T27" fmla="*/ 230 h 231"/>
                <a:gd name="T28" fmla="*/ 81 w 258"/>
                <a:gd name="T29" fmla="*/ 231 h 231"/>
                <a:gd name="T30" fmla="*/ 63 w 258"/>
                <a:gd name="T31" fmla="*/ 229 h 231"/>
                <a:gd name="T32" fmla="*/ 45 w 258"/>
                <a:gd name="T33" fmla="*/ 223 h 231"/>
                <a:gd name="T34" fmla="*/ 29 w 258"/>
                <a:gd name="T35" fmla="*/ 213 h 231"/>
                <a:gd name="T36" fmla="*/ 15 w 258"/>
                <a:gd name="T37" fmla="*/ 198 h 231"/>
                <a:gd name="T38" fmla="*/ 5 w 258"/>
                <a:gd name="T39" fmla="*/ 178 h 231"/>
                <a:gd name="T40" fmla="*/ 0 w 258"/>
                <a:gd name="T41" fmla="*/ 158 h 231"/>
                <a:gd name="T42" fmla="*/ 0 w 258"/>
                <a:gd name="T43" fmla="*/ 136 h 231"/>
                <a:gd name="T44" fmla="*/ 6 w 258"/>
                <a:gd name="T45" fmla="*/ 117 h 231"/>
                <a:gd name="T46" fmla="*/ 17 w 258"/>
                <a:gd name="T47" fmla="*/ 98 h 231"/>
                <a:gd name="T48" fmla="*/ 34 w 258"/>
                <a:gd name="T49" fmla="*/ 83 h 231"/>
                <a:gd name="T50" fmla="*/ 128 w 258"/>
                <a:gd name="T51" fmla="*/ 15 h 231"/>
                <a:gd name="T52" fmla="*/ 147 w 258"/>
                <a:gd name="T53" fmla="*/ 5 h 231"/>
                <a:gd name="T54" fmla="*/ 168 w 258"/>
                <a:gd name="T55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8" h="231">
                  <a:moveTo>
                    <a:pt x="168" y="0"/>
                  </a:moveTo>
                  <a:lnTo>
                    <a:pt x="188" y="0"/>
                  </a:lnTo>
                  <a:lnTo>
                    <a:pt x="209" y="6"/>
                  </a:lnTo>
                  <a:lnTo>
                    <a:pt x="227" y="17"/>
                  </a:lnTo>
                  <a:lnTo>
                    <a:pt x="242" y="33"/>
                  </a:lnTo>
                  <a:lnTo>
                    <a:pt x="252" y="52"/>
                  </a:lnTo>
                  <a:lnTo>
                    <a:pt x="258" y="73"/>
                  </a:lnTo>
                  <a:lnTo>
                    <a:pt x="257" y="94"/>
                  </a:lnTo>
                  <a:lnTo>
                    <a:pt x="251" y="113"/>
                  </a:lnTo>
                  <a:lnTo>
                    <a:pt x="240" y="132"/>
                  </a:lnTo>
                  <a:lnTo>
                    <a:pt x="224" y="147"/>
                  </a:lnTo>
                  <a:lnTo>
                    <a:pt x="130" y="216"/>
                  </a:lnTo>
                  <a:lnTo>
                    <a:pt x="115" y="224"/>
                  </a:lnTo>
                  <a:lnTo>
                    <a:pt x="98" y="230"/>
                  </a:lnTo>
                  <a:lnTo>
                    <a:pt x="81" y="231"/>
                  </a:lnTo>
                  <a:lnTo>
                    <a:pt x="63" y="229"/>
                  </a:lnTo>
                  <a:lnTo>
                    <a:pt x="45" y="223"/>
                  </a:lnTo>
                  <a:lnTo>
                    <a:pt x="29" y="213"/>
                  </a:lnTo>
                  <a:lnTo>
                    <a:pt x="15" y="198"/>
                  </a:lnTo>
                  <a:lnTo>
                    <a:pt x="5" y="178"/>
                  </a:lnTo>
                  <a:lnTo>
                    <a:pt x="0" y="158"/>
                  </a:lnTo>
                  <a:lnTo>
                    <a:pt x="0" y="136"/>
                  </a:lnTo>
                  <a:lnTo>
                    <a:pt x="6" y="117"/>
                  </a:lnTo>
                  <a:lnTo>
                    <a:pt x="17" y="98"/>
                  </a:lnTo>
                  <a:lnTo>
                    <a:pt x="34" y="83"/>
                  </a:lnTo>
                  <a:lnTo>
                    <a:pt x="128" y="15"/>
                  </a:lnTo>
                  <a:lnTo>
                    <a:pt x="147" y="5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1244762" y="2069022"/>
              <a:ext cx="17026" cy="13621"/>
            </a:xfrm>
            <a:custGeom>
              <a:avLst/>
              <a:gdLst>
                <a:gd name="T0" fmla="*/ 160 w 243"/>
                <a:gd name="T1" fmla="*/ 0 h 193"/>
                <a:gd name="T2" fmla="*/ 178 w 243"/>
                <a:gd name="T3" fmla="*/ 2 h 193"/>
                <a:gd name="T4" fmla="*/ 196 w 243"/>
                <a:gd name="T5" fmla="*/ 8 h 193"/>
                <a:gd name="T6" fmla="*/ 213 w 243"/>
                <a:gd name="T7" fmla="*/ 19 h 193"/>
                <a:gd name="T8" fmla="*/ 228 w 243"/>
                <a:gd name="T9" fmla="*/ 34 h 193"/>
                <a:gd name="T10" fmla="*/ 238 w 243"/>
                <a:gd name="T11" fmla="*/ 53 h 193"/>
                <a:gd name="T12" fmla="*/ 243 w 243"/>
                <a:gd name="T13" fmla="*/ 74 h 193"/>
                <a:gd name="T14" fmla="*/ 242 w 243"/>
                <a:gd name="T15" fmla="*/ 95 h 193"/>
                <a:gd name="T16" fmla="*/ 236 w 243"/>
                <a:gd name="T17" fmla="*/ 114 h 193"/>
                <a:gd name="T18" fmla="*/ 225 w 243"/>
                <a:gd name="T19" fmla="*/ 133 h 193"/>
                <a:gd name="T20" fmla="*/ 209 w 243"/>
                <a:gd name="T21" fmla="*/ 148 h 193"/>
                <a:gd name="T22" fmla="*/ 169 w 243"/>
                <a:gd name="T23" fmla="*/ 177 h 193"/>
                <a:gd name="T24" fmla="*/ 154 w 243"/>
                <a:gd name="T25" fmla="*/ 186 h 193"/>
                <a:gd name="T26" fmla="*/ 138 w 243"/>
                <a:gd name="T27" fmla="*/ 191 h 193"/>
                <a:gd name="T28" fmla="*/ 121 w 243"/>
                <a:gd name="T29" fmla="*/ 193 h 193"/>
                <a:gd name="T30" fmla="*/ 104 w 243"/>
                <a:gd name="T31" fmla="*/ 191 h 193"/>
                <a:gd name="T32" fmla="*/ 88 w 243"/>
                <a:gd name="T33" fmla="*/ 186 h 193"/>
                <a:gd name="T34" fmla="*/ 73 w 243"/>
                <a:gd name="T35" fmla="*/ 177 h 193"/>
                <a:gd name="T36" fmla="*/ 34 w 243"/>
                <a:gd name="T37" fmla="*/ 148 h 193"/>
                <a:gd name="T38" fmla="*/ 17 w 243"/>
                <a:gd name="T39" fmla="*/ 133 h 193"/>
                <a:gd name="T40" fmla="*/ 7 w 243"/>
                <a:gd name="T41" fmla="*/ 114 h 193"/>
                <a:gd name="T42" fmla="*/ 0 w 243"/>
                <a:gd name="T43" fmla="*/ 95 h 193"/>
                <a:gd name="T44" fmla="*/ 0 w 243"/>
                <a:gd name="T45" fmla="*/ 74 h 193"/>
                <a:gd name="T46" fmla="*/ 5 w 243"/>
                <a:gd name="T47" fmla="*/ 53 h 193"/>
                <a:gd name="T48" fmla="*/ 15 w 243"/>
                <a:gd name="T49" fmla="*/ 34 h 193"/>
                <a:gd name="T50" fmla="*/ 29 w 243"/>
                <a:gd name="T51" fmla="*/ 19 h 193"/>
                <a:gd name="T52" fmla="*/ 46 w 243"/>
                <a:gd name="T53" fmla="*/ 8 h 193"/>
                <a:gd name="T54" fmla="*/ 64 w 243"/>
                <a:gd name="T55" fmla="*/ 2 h 193"/>
                <a:gd name="T56" fmla="*/ 83 w 243"/>
                <a:gd name="T57" fmla="*/ 0 h 193"/>
                <a:gd name="T58" fmla="*/ 103 w 243"/>
                <a:gd name="T59" fmla="*/ 2 h 193"/>
                <a:gd name="T60" fmla="*/ 121 w 243"/>
                <a:gd name="T61" fmla="*/ 10 h 193"/>
                <a:gd name="T62" fmla="*/ 140 w 243"/>
                <a:gd name="T63" fmla="*/ 2 h 193"/>
                <a:gd name="T64" fmla="*/ 160 w 243"/>
                <a:gd name="T6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3" h="193">
                  <a:moveTo>
                    <a:pt x="160" y="0"/>
                  </a:moveTo>
                  <a:lnTo>
                    <a:pt x="178" y="2"/>
                  </a:lnTo>
                  <a:lnTo>
                    <a:pt x="196" y="8"/>
                  </a:lnTo>
                  <a:lnTo>
                    <a:pt x="213" y="19"/>
                  </a:lnTo>
                  <a:lnTo>
                    <a:pt x="228" y="34"/>
                  </a:lnTo>
                  <a:lnTo>
                    <a:pt x="238" y="53"/>
                  </a:lnTo>
                  <a:lnTo>
                    <a:pt x="243" y="74"/>
                  </a:lnTo>
                  <a:lnTo>
                    <a:pt x="242" y="95"/>
                  </a:lnTo>
                  <a:lnTo>
                    <a:pt x="236" y="114"/>
                  </a:lnTo>
                  <a:lnTo>
                    <a:pt x="225" y="133"/>
                  </a:lnTo>
                  <a:lnTo>
                    <a:pt x="209" y="148"/>
                  </a:lnTo>
                  <a:lnTo>
                    <a:pt x="169" y="177"/>
                  </a:lnTo>
                  <a:lnTo>
                    <a:pt x="154" y="186"/>
                  </a:lnTo>
                  <a:lnTo>
                    <a:pt x="138" y="191"/>
                  </a:lnTo>
                  <a:lnTo>
                    <a:pt x="121" y="193"/>
                  </a:lnTo>
                  <a:lnTo>
                    <a:pt x="104" y="191"/>
                  </a:lnTo>
                  <a:lnTo>
                    <a:pt x="88" y="186"/>
                  </a:lnTo>
                  <a:lnTo>
                    <a:pt x="73" y="177"/>
                  </a:lnTo>
                  <a:lnTo>
                    <a:pt x="34" y="148"/>
                  </a:lnTo>
                  <a:lnTo>
                    <a:pt x="17" y="133"/>
                  </a:lnTo>
                  <a:lnTo>
                    <a:pt x="7" y="114"/>
                  </a:lnTo>
                  <a:lnTo>
                    <a:pt x="0" y="95"/>
                  </a:lnTo>
                  <a:lnTo>
                    <a:pt x="0" y="74"/>
                  </a:lnTo>
                  <a:lnTo>
                    <a:pt x="5" y="53"/>
                  </a:lnTo>
                  <a:lnTo>
                    <a:pt x="15" y="34"/>
                  </a:lnTo>
                  <a:lnTo>
                    <a:pt x="29" y="19"/>
                  </a:lnTo>
                  <a:lnTo>
                    <a:pt x="46" y="8"/>
                  </a:lnTo>
                  <a:lnTo>
                    <a:pt x="64" y="2"/>
                  </a:lnTo>
                  <a:lnTo>
                    <a:pt x="83" y="0"/>
                  </a:lnTo>
                  <a:lnTo>
                    <a:pt x="103" y="2"/>
                  </a:lnTo>
                  <a:lnTo>
                    <a:pt x="121" y="10"/>
                  </a:lnTo>
                  <a:lnTo>
                    <a:pt x="140" y="2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1215534" y="2048023"/>
              <a:ext cx="18445" cy="16459"/>
            </a:xfrm>
            <a:custGeom>
              <a:avLst/>
              <a:gdLst>
                <a:gd name="T0" fmla="*/ 90 w 258"/>
                <a:gd name="T1" fmla="*/ 0 h 231"/>
                <a:gd name="T2" fmla="*/ 110 w 258"/>
                <a:gd name="T3" fmla="*/ 5 h 231"/>
                <a:gd name="T4" fmla="*/ 129 w 258"/>
                <a:gd name="T5" fmla="*/ 15 h 231"/>
                <a:gd name="T6" fmla="*/ 224 w 258"/>
                <a:gd name="T7" fmla="*/ 83 h 231"/>
                <a:gd name="T8" fmla="*/ 240 w 258"/>
                <a:gd name="T9" fmla="*/ 98 h 231"/>
                <a:gd name="T10" fmla="*/ 251 w 258"/>
                <a:gd name="T11" fmla="*/ 117 h 231"/>
                <a:gd name="T12" fmla="*/ 256 w 258"/>
                <a:gd name="T13" fmla="*/ 136 h 231"/>
                <a:gd name="T14" fmla="*/ 258 w 258"/>
                <a:gd name="T15" fmla="*/ 158 h 231"/>
                <a:gd name="T16" fmla="*/ 253 w 258"/>
                <a:gd name="T17" fmla="*/ 178 h 231"/>
                <a:gd name="T18" fmla="*/ 243 w 258"/>
                <a:gd name="T19" fmla="*/ 198 h 231"/>
                <a:gd name="T20" fmla="*/ 229 w 258"/>
                <a:gd name="T21" fmla="*/ 213 h 231"/>
                <a:gd name="T22" fmla="*/ 213 w 258"/>
                <a:gd name="T23" fmla="*/ 223 h 231"/>
                <a:gd name="T24" fmla="*/ 195 w 258"/>
                <a:gd name="T25" fmla="*/ 229 h 231"/>
                <a:gd name="T26" fmla="*/ 176 w 258"/>
                <a:gd name="T27" fmla="*/ 231 h 231"/>
                <a:gd name="T28" fmla="*/ 159 w 258"/>
                <a:gd name="T29" fmla="*/ 230 h 231"/>
                <a:gd name="T30" fmla="*/ 143 w 258"/>
                <a:gd name="T31" fmla="*/ 224 h 231"/>
                <a:gd name="T32" fmla="*/ 128 w 258"/>
                <a:gd name="T33" fmla="*/ 216 h 231"/>
                <a:gd name="T34" fmla="*/ 34 w 258"/>
                <a:gd name="T35" fmla="*/ 147 h 231"/>
                <a:gd name="T36" fmla="*/ 17 w 258"/>
                <a:gd name="T37" fmla="*/ 132 h 231"/>
                <a:gd name="T38" fmla="*/ 7 w 258"/>
                <a:gd name="T39" fmla="*/ 113 h 231"/>
                <a:gd name="T40" fmla="*/ 1 w 258"/>
                <a:gd name="T41" fmla="*/ 94 h 231"/>
                <a:gd name="T42" fmla="*/ 0 w 258"/>
                <a:gd name="T43" fmla="*/ 73 h 231"/>
                <a:gd name="T44" fmla="*/ 5 w 258"/>
                <a:gd name="T45" fmla="*/ 52 h 231"/>
                <a:gd name="T46" fmla="*/ 15 w 258"/>
                <a:gd name="T47" fmla="*/ 33 h 231"/>
                <a:gd name="T48" fmla="*/ 30 w 258"/>
                <a:gd name="T49" fmla="*/ 17 h 231"/>
                <a:gd name="T50" fmla="*/ 49 w 258"/>
                <a:gd name="T51" fmla="*/ 6 h 231"/>
                <a:gd name="T52" fmla="*/ 68 w 258"/>
                <a:gd name="T53" fmla="*/ 0 h 231"/>
                <a:gd name="T54" fmla="*/ 90 w 258"/>
                <a:gd name="T55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8" h="231">
                  <a:moveTo>
                    <a:pt x="90" y="0"/>
                  </a:moveTo>
                  <a:lnTo>
                    <a:pt x="110" y="5"/>
                  </a:lnTo>
                  <a:lnTo>
                    <a:pt x="129" y="15"/>
                  </a:lnTo>
                  <a:lnTo>
                    <a:pt x="224" y="83"/>
                  </a:lnTo>
                  <a:lnTo>
                    <a:pt x="240" y="98"/>
                  </a:lnTo>
                  <a:lnTo>
                    <a:pt x="251" y="117"/>
                  </a:lnTo>
                  <a:lnTo>
                    <a:pt x="256" y="136"/>
                  </a:lnTo>
                  <a:lnTo>
                    <a:pt x="258" y="158"/>
                  </a:lnTo>
                  <a:lnTo>
                    <a:pt x="253" y="178"/>
                  </a:lnTo>
                  <a:lnTo>
                    <a:pt x="243" y="198"/>
                  </a:lnTo>
                  <a:lnTo>
                    <a:pt x="229" y="213"/>
                  </a:lnTo>
                  <a:lnTo>
                    <a:pt x="213" y="223"/>
                  </a:lnTo>
                  <a:lnTo>
                    <a:pt x="195" y="229"/>
                  </a:lnTo>
                  <a:lnTo>
                    <a:pt x="176" y="231"/>
                  </a:lnTo>
                  <a:lnTo>
                    <a:pt x="159" y="230"/>
                  </a:lnTo>
                  <a:lnTo>
                    <a:pt x="143" y="224"/>
                  </a:lnTo>
                  <a:lnTo>
                    <a:pt x="128" y="216"/>
                  </a:lnTo>
                  <a:lnTo>
                    <a:pt x="34" y="147"/>
                  </a:lnTo>
                  <a:lnTo>
                    <a:pt x="17" y="132"/>
                  </a:lnTo>
                  <a:lnTo>
                    <a:pt x="7" y="113"/>
                  </a:lnTo>
                  <a:lnTo>
                    <a:pt x="1" y="94"/>
                  </a:lnTo>
                  <a:lnTo>
                    <a:pt x="0" y="73"/>
                  </a:lnTo>
                  <a:lnTo>
                    <a:pt x="5" y="52"/>
                  </a:lnTo>
                  <a:lnTo>
                    <a:pt x="15" y="33"/>
                  </a:lnTo>
                  <a:lnTo>
                    <a:pt x="30" y="17"/>
                  </a:lnTo>
                  <a:lnTo>
                    <a:pt x="49" y="6"/>
                  </a:lnTo>
                  <a:lnTo>
                    <a:pt x="68" y="0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33" name="Freeform 32"/>
            <p:cNvSpPr>
              <a:spLocks noEditPoints="1"/>
            </p:cNvSpPr>
            <p:nvPr/>
          </p:nvSpPr>
          <p:spPr bwMode="auto">
            <a:xfrm>
              <a:off x="1117349" y="1890245"/>
              <a:ext cx="269866" cy="262206"/>
            </a:xfrm>
            <a:custGeom>
              <a:avLst/>
              <a:gdLst>
                <a:gd name="T0" fmla="*/ 1444 w 3804"/>
                <a:gd name="T1" fmla="*/ 3273 h 3698"/>
                <a:gd name="T2" fmla="*/ 1622 w 3804"/>
                <a:gd name="T3" fmla="*/ 3531 h 3698"/>
                <a:gd name="T4" fmla="*/ 1879 w 3804"/>
                <a:gd name="T5" fmla="*/ 3353 h 3698"/>
                <a:gd name="T6" fmla="*/ 1702 w 3804"/>
                <a:gd name="T7" fmla="*/ 3094 h 3698"/>
                <a:gd name="T8" fmla="*/ 3085 w 3804"/>
                <a:gd name="T9" fmla="*/ 2413 h 3698"/>
                <a:gd name="T10" fmla="*/ 3216 w 3804"/>
                <a:gd name="T11" fmla="*/ 2699 h 3698"/>
                <a:gd name="T12" fmla="*/ 3501 w 3804"/>
                <a:gd name="T13" fmla="*/ 2568 h 3698"/>
                <a:gd name="T14" fmla="*/ 3371 w 3804"/>
                <a:gd name="T15" fmla="*/ 2283 h 3698"/>
                <a:gd name="T16" fmla="*/ 194 w 3804"/>
                <a:gd name="T17" fmla="*/ 1918 h 3698"/>
                <a:gd name="T18" fmla="*/ 274 w 3804"/>
                <a:gd name="T19" fmla="*/ 2222 h 3698"/>
                <a:gd name="T20" fmla="*/ 576 w 3804"/>
                <a:gd name="T21" fmla="*/ 2142 h 3698"/>
                <a:gd name="T22" fmla="*/ 497 w 3804"/>
                <a:gd name="T23" fmla="*/ 1838 h 3698"/>
                <a:gd name="T24" fmla="*/ 1477 w 3804"/>
                <a:gd name="T25" fmla="*/ 689 h 3698"/>
                <a:gd name="T26" fmla="*/ 1100 w 3804"/>
                <a:gd name="T27" fmla="*/ 773 h 3698"/>
                <a:gd name="T28" fmla="*/ 1027 w 3804"/>
                <a:gd name="T29" fmla="*/ 1031 h 3698"/>
                <a:gd name="T30" fmla="*/ 621 w 3804"/>
                <a:gd name="T31" fmla="*/ 1725 h 3698"/>
                <a:gd name="T32" fmla="*/ 760 w 3804"/>
                <a:gd name="T33" fmla="*/ 2118 h 3698"/>
                <a:gd name="T34" fmla="*/ 944 w 3804"/>
                <a:gd name="T35" fmla="*/ 2286 h 3698"/>
                <a:gd name="T36" fmla="*/ 1408 w 3804"/>
                <a:gd name="T37" fmla="*/ 3022 h 3698"/>
                <a:gd name="T38" fmla="*/ 1801 w 3804"/>
                <a:gd name="T39" fmla="*/ 2953 h 3698"/>
                <a:gd name="T40" fmla="*/ 2072 w 3804"/>
                <a:gd name="T41" fmla="*/ 2910 h 3698"/>
                <a:gd name="T42" fmla="*/ 2183 w 3804"/>
                <a:gd name="T43" fmla="*/ 3013 h 3698"/>
                <a:gd name="T44" fmla="*/ 2936 w 3804"/>
                <a:gd name="T45" fmla="*/ 2344 h 3698"/>
                <a:gd name="T46" fmla="*/ 3036 w 3804"/>
                <a:gd name="T47" fmla="*/ 2010 h 3698"/>
                <a:gd name="T48" fmla="*/ 3111 w 3804"/>
                <a:gd name="T49" fmla="*/ 1880 h 3698"/>
                <a:gd name="T50" fmla="*/ 2819 w 3804"/>
                <a:gd name="T51" fmla="*/ 1028 h 3698"/>
                <a:gd name="T52" fmla="*/ 2628 w 3804"/>
                <a:gd name="T53" fmla="*/ 696 h 3698"/>
                <a:gd name="T54" fmla="*/ 2369 w 3804"/>
                <a:gd name="T55" fmla="*/ 758 h 3698"/>
                <a:gd name="T56" fmla="*/ 2973 w 3804"/>
                <a:gd name="T57" fmla="*/ 477 h 3698"/>
                <a:gd name="T58" fmla="*/ 2795 w 3804"/>
                <a:gd name="T59" fmla="*/ 735 h 3698"/>
                <a:gd name="T60" fmla="*/ 3053 w 3804"/>
                <a:gd name="T61" fmla="*/ 914 h 3698"/>
                <a:gd name="T62" fmla="*/ 3231 w 3804"/>
                <a:gd name="T63" fmla="*/ 655 h 3698"/>
                <a:gd name="T64" fmla="*/ 1216 w 3804"/>
                <a:gd name="T65" fmla="*/ 184 h 3698"/>
                <a:gd name="T66" fmla="*/ 996 w 3804"/>
                <a:gd name="T67" fmla="*/ 406 h 3698"/>
                <a:gd name="T68" fmla="*/ 1216 w 3804"/>
                <a:gd name="T69" fmla="*/ 628 h 3698"/>
                <a:gd name="T70" fmla="*/ 1438 w 3804"/>
                <a:gd name="T71" fmla="*/ 406 h 3698"/>
                <a:gd name="T72" fmla="*/ 1216 w 3804"/>
                <a:gd name="T73" fmla="*/ 184 h 3698"/>
                <a:gd name="T74" fmla="*/ 3115 w 3804"/>
                <a:gd name="T75" fmla="*/ 324 h 3698"/>
                <a:gd name="T76" fmla="*/ 3395 w 3804"/>
                <a:gd name="T77" fmla="*/ 644 h 3698"/>
                <a:gd name="T78" fmla="*/ 3207 w 3804"/>
                <a:gd name="T79" fmla="*/ 1028 h 3698"/>
                <a:gd name="T80" fmla="*/ 3770 w 3804"/>
                <a:gd name="T81" fmla="*/ 1717 h 3698"/>
                <a:gd name="T82" fmla="*/ 3669 w 3804"/>
                <a:gd name="T83" fmla="*/ 2404 h 3698"/>
                <a:gd name="T84" fmla="*/ 3528 w 3804"/>
                <a:gd name="T85" fmla="*/ 2796 h 3698"/>
                <a:gd name="T86" fmla="*/ 3112 w 3804"/>
                <a:gd name="T87" fmla="*/ 2830 h 3698"/>
                <a:gd name="T88" fmla="*/ 2539 w 3804"/>
                <a:gd name="T89" fmla="*/ 3510 h 3698"/>
                <a:gd name="T90" fmla="*/ 1942 w 3804"/>
                <a:gd name="T91" fmla="*/ 3577 h 3698"/>
                <a:gd name="T92" fmla="*/ 1559 w 3804"/>
                <a:gd name="T93" fmla="*/ 3684 h 3698"/>
                <a:gd name="T94" fmla="*/ 1280 w 3804"/>
                <a:gd name="T95" fmla="*/ 3364 h 3698"/>
                <a:gd name="T96" fmla="*/ 585 w 3804"/>
                <a:gd name="T97" fmla="*/ 2863 h 3698"/>
                <a:gd name="T98" fmla="*/ 449 w 3804"/>
                <a:gd name="T99" fmla="*/ 2909 h 3698"/>
                <a:gd name="T100" fmla="*/ 47 w 3804"/>
                <a:gd name="T101" fmla="*/ 2215 h 3698"/>
                <a:gd name="T102" fmla="*/ 81 w 3804"/>
                <a:gd name="T103" fmla="*/ 1794 h 3698"/>
                <a:gd name="T104" fmla="*/ 768 w 3804"/>
                <a:gd name="T105" fmla="*/ 588 h 3698"/>
                <a:gd name="T106" fmla="*/ 351 w 3804"/>
                <a:gd name="T107" fmla="*/ 674 h 3698"/>
                <a:gd name="T108" fmla="*/ 898 w 3804"/>
                <a:gd name="T109" fmla="*/ 191 h 3698"/>
                <a:gd name="T110" fmla="*/ 1266 w 3804"/>
                <a:gd name="T111" fmla="*/ 23 h 3698"/>
                <a:gd name="T112" fmla="*/ 1580 w 3804"/>
                <a:gd name="T113" fmla="*/ 279 h 3698"/>
                <a:gd name="T114" fmla="*/ 2380 w 3804"/>
                <a:gd name="T115" fmla="*/ 33 h 3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804" h="3698">
                  <a:moveTo>
                    <a:pt x="1662" y="3090"/>
                  </a:moveTo>
                  <a:lnTo>
                    <a:pt x="1622" y="3094"/>
                  </a:lnTo>
                  <a:lnTo>
                    <a:pt x="1585" y="3104"/>
                  </a:lnTo>
                  <a:lnTo>
                    <a:pt x="1550" y="3120"/>
                  </a:lnTo>
                  <a:lnTo>
                    <a:pt x="1519" y="3142"/>
                  </a:lnTo>
                  <a:lnTo>
                    <a:pt x="1492" y="3170"/>
                  </a:lnTo>
                  <a:lnTo>
                    <a:pt x="1471" y="3200"/>
                  </a:lnTo>
                  <a:lnTo>
                    <a:pt x="1454" y="3235"/>
                  </a:lnTo>
                  <a:lnTo>
                    <a:pt x="1444" y="3273"/>
                  </a:lnTo>
                  <a:lnTo>
                    <a:pt x="1440" y="3312"/>
                  </a:lnTo>
                  <a:lnTo>
                    <a:pt x="1444" y="3353"/>
                  </a:lnTo>
                  <a:lnTo>
                    <a:pt x="1454" y="3390"/>
                  </a:lnTo>
                  <a:lnTo>
                    <a:pt x="1471" y="3424"/>
                  </a:lnTo>
                  <a:lnTo>
                    <a:pt x="1492" y="3455"/>
                  </a:lnTo>
                  <a:lnTo>
                    <a:pt x="1519" y="3482"/>
                  </a:lnTo>
                  <a:lnTo>
                    <a:pt x="1550" y="3504"/>
                  </a:lnTo>
                  <a:lnTo>
                    <a:pt x="1585" y="3520"/>
                  </a:lnTo>
                  <a:lnTo>
                    <a:pt x="1622" y="3531"/>
                  </a:lnTo>
                  <a:lnTo>
                    <a:pt x="1662" y="3534"/>
                  </a:lnTo>
                  <a:lnTo>
                    <a:pt x="1702" y="3531"/>
                  </a:lnTo>
                  <a:lnTo>
                    <a:pt x="1739" y="3520"/>
                  </a:lnTo>
                  <a:lnTo>
                    <a:pt x="1773" y="3504"/>
                  </a:lnTo>
                  <a:lnTo>
                    <a:pt x="1804" y="3482"/>
                  </a:lnTo>
                  <a:lnTo>
                    <a:pt x="1831" y="3455"/>
                  </a:lnTo>
                  <a:lnTo>
                    <a:pt x="1853" y="3424"/>
                  </a:lnTo>
                  <a:lnTo>
                    <a:pt x="1869" y="3390"/>
                  </a:lnTo>
                  <a:lnTo>
                    <a:pt x="1879" y="3353"/>
                  </a:lnTo>
                  <a:lnTo>
                    <a:pt x="1883" y="3312"/>
                  </a:lnTo>
                  <a:lnTo>
                    <a:pt x="1879" y="3273"/>
                  </a:lnTo>
                  <a:lnTo>
                    <a:pt x="1869" y="3235"/>
                  </a:lnTo>
                  <a:lnTo>
                    <a:pt x="1853" y="3200"/>
                  </a:lnTo>
                  <a:lnTo>
                    <a:pt x="1831" y="3170"/>
                  </a:lnTo>
                  <a:lnTo>
                    <a:pt x="1804" y="3142"/>
                  </a:lnTo>
                  <a:lnTo>
                    <a:pt x="1773" y="3120"/>
                  </a:lnTo>
                  <a:lnTo>
                    <a:pt x="1739" y="3104"/>
                  </a:lnTo>
                  <a:lnTo>
                    <a:pt x="1702" y="3094"/>
                  </a:lnTo>
                  <a:lnTo>
                    <a:pt x="1662" y="3090"/>
                  </a:lnTo>
                  <a:close/>
                  <a:moveTo>
                    <a:pt x="3293" y="2269"/>
                  </a:moveTo>
                  <a:lnTo>
                    <a:pt x="3253" y="2273"/>
                  </a:lnTo>
                  <a:lnTo>
                    <a:pt x="3216" y="2283"/>
                  </a:lnTo>
                  <a:lnTo>
                    <a:pt x="3181" y="2299"/>
                  </a:lnTo>
                  <a:lnTo>
                    <a:pt x="3150" y="2321"/>
                  </a:lnTo>
                  <a:lnTo>
                    <a:pt x="3124" y="2348"/>
                  </a:lnTo>
                  <a:lnTo>
                    <a:pt x="3102" y="2379"/>
                  </a:lnTo>
                  <a:lnTo>
                    <a:pt x="3085" y="2413"/>
                  </a:lnTo>
                  <a:lnTo>
                    <a:pt x="3075" y="2450"/>
                  </a:lnTo>
                  <a:lnTo>
                    <a:pt x="3072" y="2491"/>
                  </a:lnTo>
                  <a:lnTo>
                    <a:pt x="3075" y="2530"/>
                  </a:lnTo>
                  <a:lnTo>
                    <a:pt x="3085" y="2568"/>
                  </a:lnTo>
                  <a:lnTo>
                    <a:pt x="3102" y="2603"/>
                  </a:lnTo>
                  <a:lnTo>
                    <a:pt x="3124" y="2633"/>
                  </a:lnTo>
                  <a:lnTo>
                    <a:pt x="3150" y="2660"/>
                  </a:lnTo>
                  <a:lnTo>
                    <a:pt x="3181" y="2681"/>
                  </a:lnTo>
                  <a:lnTo>
                    <a:pt x="3216" y="2699"/>
                  </a:lnTo>
                  <a:lnTo>
                    <a:pt x="3253" y="2709"/>
                  </a:lnTo>
                  <a:lnTo>
                    <a:pt x="3293" y="2713"/>
                  </a:lnTo>
                  <a:lnTo>
                    <a:pt x="3333" y="2709"/>
                  </a:lnTo>
                  <a:lnTo>
                    <a:pt x="3371" y="2699"/>
                  </a:lnTo>
                  <a:lnTo>
                    <a:pt x="3404" y="2681"/>
                  </a:lnTo>
                  <a:lnTo>
                    <a:pt x="3435" y="2660"/>
                  </a:lnTo>
                  <a:lnTo>
                    <a:pt x="3462" y="2633"/>
                  </a:lnTo>
                  <a:lnTo>
                    <a:pt x="3484" y="2603"/>
                  </a:lnTo>
                  <a:lnTo>
                    <a:pt x="3501" y="2568"/>
                  </a:lnTo>
                  <a:lnTo>
                    <a:pt x="3511" y="2530"/>
                  </a:lnTo>
                  <a:lnTo>
                    <a:pt x="3515" y="2491"/>
                  </a:lnTo>
                  <a:lnTo>
                    <a:pt x="3511" y="2450"/>
                  </a:lnTo>
                  <a:lnTo>
                    <a:pt x="3501" y="2413"/>
                  </a:lnTo>
                  <a:lnTo>
                    <a:pt x="3484" y="2379"/>
                  </a:lnTo>
                  <a:lnTo>
                    <a:pt x="3462" y="2348"/>
                  </a:lnTo>
                  <a:lnTo>
                    <a:pt x="3435" y="2321"/>
                  </a:lnTo>
                  <a:lnTo>
                    <a:pt x="3404" y="2299"/>
                  </a:lnTo>
                  <a:lnTo>
                    <a:pt x="3371" y="2283"/>
                  </a:lnTo>
                  <a:lnTo>
                    <a:pt x="3333" y="2273"/>
                  </a:lnTo>
                  <a:lnTo>
                    <a:pt x="3293" y="2269"/>
                  </a:lnTo>
                  <a:close/>
                  <a:moveTo>
                    <a:pt x="386" y="1808"/>
                  </a:moveTo>
                  <a:lnTo>
                    <a:pt x="345" y="1812"/>
                  </a:lnTo>
                  <a:lnTo>
                    <a:pt x="308" y="1822"/>
                  </a:lnTo>
                  <a:lnTo>
                    <a:pt x="274" y="1838"/>
                  </a:lnTo>
                  <a:lnTo>
                    <a:pt x="243" y="1860"/>
                  </a:lnTo>
                  <a:lnTo>
                    <a:pt x="216" y="1887"/>
                  </a:lnTo>
                  <a:lnTo>
                    <a:pt x="194" y="1918"/>
                  </a:lnTo>
                  <a:lnTo>
                    <a:pt x="178" y="1953"/>
                  </a:lnTo>
                  <a:lnTo>
                    <a:pt x="167" y="1990"/>
                  </a:lnTo>
                  <a:lnTo>
                    <a:pt x="164" y="2030"/>
                  </a:lnTo>
                  <a:lnTo>
                    <a:pt x="167" y="2069"/>
                  </a:lnTo>
                  <a:lnTo>
                    <a:pt x="178" y="2107"/>
                  </a:lnTo>
                  <a:lnTo>
                    <a:pt x="194" y="2142"/>
                  </a:lnTo>
                  <a:lnTo>
                    <a:pt x="216" y="2172"/>
                  </a:lnTo>
                  <a:lnTo>
                    <a:pt x="243" y="2200"/>
                  </a:lnTo>
                  <a:lnTo>
                    <a:pt x="274" y="2222"/>
                  </a:lnTo>
                  <a:lnTo>
                    <a:pt x="308" y="2238"/>
                  </a:lnTo>
                  <a:lnTo>
                    <a:pt x="345" y="2248"/>
                  </a:lnTo>
                  <a:lnTo>
                    <a:pt x="386" y="2252"/>
                  </a:lnTo>
                  <a:lnTo>
                    <a:pt x="425" y="2248"/>
                  </a:lnTo>
                  <a:lnTo>
                    <a:pt x="462" y="2238"/>
                  </a:lnTo>
                  <a:lnTo>
                    <a:pt x="497" y="2222"/>
                  </a:lnTo>
                  <a:lnTo>
                    <a:pt x="528" y="2200"/>
                  </a:lnTo>
                  <a:lnTo>
                    <a:pt x="554" y="2172"/>
                  </a:lnTo>
                  <a:lnTo>
                    <a:pt x="576" y="2142"/>
                  </a:lnTo>
                  <a:lnTo>
                    <a:pt x="593" y="2107"/>
                  </a:lnTo>
                  <a:lnTo>
                    <a:pt x="603" y="2069"/>
                  </a:lnTo>
                  <a:lnTo>
                    <a:pt x="608" y="2030"/>
                  </a:lnTo>
                  <a:lnTo>
                    <a:pt x="603" y="1990"/>
                  </a:lnTo>
                  <a:lnTo>
                    <a:pt x="593" y="1953"/>
                  </a:lnTo>
                  <a:lnTo>
                    <a:pt x="576" y="1918"/>
                  </a:lnTo>
                  <a:lnTo>
                    <a:pt x="554" y="1887"/>
                  </a:lnTo>
                  <a:lnTo>
                    <a:pt x="528" y="1860"/>
                  </a:lnTo>
                  <a:lnTo>
                    <a:pt x="497" y="1838"/>
                  </a:lnTo>
                  <a:lnTo>
                    <a:pt x="462" y="1822"/>
                  </a:lnTo>
                  <a:lnTo>
                    <a:pt x="425" y="1812"/>
                  </a:lnTo>
                  <a:lnTo>
                    <a:pt x="386" y="1808"/>
                  </a:lnTo>
                  <a:close/>
                  <a:moveTo>
                    <a:pt x="1593" y="488"/>
                  </a:moveTo>
                  <a:lnTo>
                    <a:pt x="1580" y="534"/>
                  </a:lnTo>
                  <a:lnTo>
                    <a:pt x="1562" y="578"/>
                  </a:lnTo>
                  <a:lnTo>
                    <a:pt x="1539" y="618"/>
                  </a:lnTo>
                  <a:lnTo>
                    <a:pt x="1510" y="655"/>
                  </a:lnTo>
                  <a:lnTo>
                    <a:pt x="1477" y="689"/>
                  </a:lnTo>
                  <a:lnTo>
                    <a:pt x="1442" y="719"/>
                  </a:lnTo>
                  <a:lnTo>
                    <a:pt x="1402" y="744"/>
                  </a:lnTo>
                  <a:lnTo>
                    <a:pt x="1360" y="764"/>
                  </a:lnTo>
                  <a:lnTo>
                    <a:pt x="1313" y="779"/>
                  </a:lnTo>
                  <a:lnTo>
                    <a:pt x="1266" y="788"/>
                  </a:lnTo>
                  <a:lnTo>
                    <a:pt x="1216" y="792"/>
                  </a:lnTo>
                  <a:lnTo>
                    <a:pt x="1177" y="789"/>
                  </a:lnTo>
                  <a:lnTo>
                    <a:pt x="1138" y="784"/>
                  </a:lnTo>
                  <a:lnTo>
                    <a:pt x="1100" y="773"/>
                  </a:lnTo>
                  <a:lnTo>
                    <a:pt x="1064" y="759"/>
                  </a:lnTo>
                  <a:lnTo>
                    <a:pt x="1100" y="934"/>
                  </a:lnTo>
                  <a:lnTo>
                    <a:pt x="1101" y="956"/>
                  </a:lnTo>
                  <a:lnTo>
                    <a:pt x="1096" y="976"/>
                  </a:lnTo>
                  <a:lnTo>
                    <a:pt x="1087" y="995"/>
                  </a:lnTo>
                  <a:lnTo>
                    <a:pt x="1074" y="1011"/>
                  </a:lnTo>
                  <a:lnTo>
                    <a:pt x="1056" y="1023"/>
                  </a:lnTo>
                  <a:lnTo>
                    <a:pt x="1035" y="1030"/>
                  </a:lnTo>
                  <a:lnTo>
                    <a:pt x="1027" y="1031"/>
                  </a:lnTo>
                  <a:lnTo>
                    <a:pt x="1019" y="1032"/>
                  </a:lnTo>
                  <a:lnTo>
                    <a:pt x="997" y="1028"/>
                  </a:lnTo>
                  <a:lnTo>
                    <a:pt x="976" y="1020"/>
                  </a:lnTo>
                  <a:lnTo>
                    <a:pt x="960" y="1006"/>
                  </a:lnTo>
                  <a:lnTo>
                    <a:pt x="947" y="988"/>
                  </a:lnTo>
                  <a:lnTo>
                    <a:pt x="939" y="966"/>
                  </a:lnTo>
                  <a:lnTo>
                    <a:pt x="892" y="737"/>
                  </a:lnTo>
                  <a:lnTo>
                    <a:pt x="580" y="1697"/>
                  </a:lnTo>
                  <a:lnTo>
                    <a:pt x="621" y="1725"/>
                  </a:lnTo>
                  <a:lnTo>
                    <a:pt x="658" y="1757"/>
                  </a:lnTo>
                  <a:lnTo>
                    <a:pt x="691" y="1794"/>
                  </a:lnTo>
                  <a:lnTo>
                    <a:pt x="719" y="1836"/>
                  </a:lnTo>
                  <a:lnTo>
                    <a:pt x="740" y="1880"/>
                  </a:lnTo>
                  <a:lnTo>
                    <a:pt x="757" y="1927"/>
                  </a:lnTo>
                  <a:lnTo>
                    <a:pt x="767" y="1978"/>
                  </a:lnTo>
                  <a:lnTo>
                    <a:pt x="770" y="2030"/>
                  </a:lnTo>
                  <a:lnTo>
                    <a:pt x="768" y="2075"/>
                  </a:lnTo>
                  <a:lnTo>
                    <a:pt x="760" y="2118"/>
                  </a:lnTo>
                  <a:lnTo>
                    <a:pt x="749" y="2160"/>
                  </a:lnTo>
                  <a:lnTo>
                    <a:pt x="731" y="2200"/>
                  </a:lnTo>
                  <a:lnTo>
                    <a:pt x="710" y="2237"/>
                  </a:lnTo>
                  <a:lnTo>
                    <a:pt x="863" y="2230"/>
                  </a:lnTo>
                  <a:lnTo>
                    <a:pt x="885" y="2232"/>
                  </a:lnTo>
                  <a:lnTo>
                    <a:pt x="904" y="2239"/>
                  </a:lnTo>
                  <a:lnTo>
                    <a:pt x="922" y="2252"/>
                  </a:lnTo>
                  <a:lnTo>
                    <a:pt x="935" y="2267"/>
                  </a:lnTo>
                  <a:lnTo>
                    <a:pt x="944" y="2286"/>
                  </a:lnTo>
                  <a:lnTo>
                    <a:pt x="948" y="2308"/>
                  </a:lnTo>
                  <a:lnTo>
                    <a:pt x="946" y="2330"/>
                  </a:lnTo>
                  <a:lnTo>
                    <a:pt x="939" y="2350"/>
                  </a:lnTo>
                  <a:lnTo>
                    <a:pt x="926" y="2367"/>
                  </a:lnTo>
                  <a:lnTo>
                    <a:pt x="910" y="2380"/>
                  </a:lnTo>
                  <a:lnTo>
                    <a:pt x="892" y="2389"/>
                  </a:lnTo>
                  <a:lnTo>
                    <a:pt x="870" y="2394"/>
                  </a:lnTo>
                  <a:lnTo>
                    <a:pt x="561" y="2408"/>
                  </a:lnTo>
                  <a:lnTo>
                    <a:pt x="1408" y="3022"/>
                  </a:lnTo>
                  <a:lnTo>
                    <a:pt x="1444" y="2995"/>
                  </a:lnTo>
                  <a:lnTo>
                    <a:pt x="1483" y="2971"/>
                  </a:lnTo>
                  <a:lnTo>
                    <a:pt x="1524" y="2953"/>
                  </a:lnTo>
                  <a:lnTo>
                    <a:pt x="1568" y="2939"/>
                  </a:lnTo>
                  <a:lnTo>
                    <a:pt x="1614" y="2930"/>
                  </a:lnTo>
                  <a:lnTo>
                    <a:pt x="1662" y="2928"/>
                  </a:lnTo>
                  <a:lnTo>
                    <a:pt x="1710" y="2930"/>
                  </a:lnTo>
                  <a:lnTo>
                    <a:pt x="1757" y="2939"/>
                  </a:lnTo>
                  <a:lnTo>
                    <a:pt x="1801" y="2953"/>
                  </a:lnTo>
                  <a:lnTo>
                    <a:pt x="1844" y="2973"/>
                  </a:lnTo>
                  <a:lnTo>
                    <a:pt x="1883" y="2997"/>
                  </a:lnTo>
                  <a:lnTo>
                    <a:pt x="1919" y="3026"/>
                  </a:lnTo>
                  <a:lnTo>
                    <a:pt x="1950" y="3058"/>
                  </a:lnTo>
                  <a:lnTo>
                    <a:pt x="1979" y="3094"/>
                  </a:lnTo>
                  <a:lnTo>
                    <a:pt x="2030" y="2955"/>
                  </a:lnTo>
                  <a:lnTo>
                    <a:pt x="2040" y="2937"/>
                  </a:lnTo>
                  <a:lnTo>
                    <a:pt x="2055" y="2921"/>
                  </a:lnTo>
                  <a:lnTo>
                    <a:pt x="2072" y="2910"/>
                  </a:lnTo>
                  <a:lnTo>
                    <a:pt x="2093" y="2903"/>
                  </a:lnTo>
                  <a:lnTo>
                    <a:pt x="2114" y="2902"/>
                  </a:lnTo>
                  <a:lnTo>
                    <a:pt x="2135" y="2908"/>
                  </a:lnTo>
                  <a:lnTo>
                    <a:pt x="2154" y="2918"/>
                  </a:lnTo>
                  <a:lnTo>
                    <a:pt x="2171" y="2932"/>
                  </a:lnTo>
                  <a:lnTo>
                    <a:pt x="2181" y="2951"/>
                  </a:lnTo>
                  <a:lnTo>
                    <a:pt x="2188" y="2970"/>
                  </a:lnTo>
                  <a:lnTo>
                    <a:pt x="2188" y="2991"/>
                  </a:lnTo>
                  <a:lnTo>
                    <a:pt x="2183" y="3013"/>
                  </a:lnTo>
                  <a:lnTo>
                    <a:pt x="2090" y="3266"/>
                  </a:lnTo>
                  <a:lnTo>
                    <a:pt x="2941" y="2647"/>
                  </a:lnTo>
                  <a:lnTo>
                    <a:pt x="2927" y="2610"/>
                  </a:lnTo>
                  <a:lnTo>
                    <a:pt x="2917" y="2572"/>
                  </a:lnTo>
                  <a:lnTo>
                    <a:pt x="2910" y="2531"/>
                  </a:lnTo>
                  <a:lnTo>
                    <a:pt x="2908" y="2491"/>
                  </a:lnTo>
                  <a:lnTo>
                    <a:pt x="2911" y="2440"/>
                  </a:lnTo>
                  <a:lnTo>
                    <a:pt x="2920" y="2390"/>
                  </a:lnTo>
                  <a:lnTo>
                    <a:pt x="2936" y="2344"/>
                  </a:lnTo>
                  <a:lnTo>
                    <a:pt x="2957" y="2300"/>
                  </a:lnTo>
                  <a:lnTo>
                    <a:pt x="2984" y="2261"/>
                  </a:lnTo>
                  <a:lnTo>
                    <a:pt x="3015" y="2224"/>
                  </a:lnTo>
                  <a:lnTo>
                    <a:pt x="3051" y="2192"/>
                  </a:lnTo>
                  <a:lnTo>
                    <a:pt x="3090" y="2163"/>
                  </a:lnTo>
                  <a:lnTo>
                    <a:pt x="3133" y="2141"/>
                  </a:lnTo>
                  <a:lnTo>
                    <a:pt x="3178" y="2122"/>
                  </a:lnTo>
                  <a:lnTo>
                    <a:pt x="3051" y="2026"/>
                  </a:lnTo>
                  <a:lnTo>
                    <a:pt x="3036" y="2010"/>
                  </a:lnTo>
                  <a:lnTo>
                    <a:pt x="3025" y="1992"/>
                  </a:lnTo>
                  <a:lnTo>
                    <a:pt x="3020" y="1972"/>
                  </a:lnTo>
                  <a:lnTo>
                    <a:pt x="3020" y="1950"/>
                  </a:lnTo>
                  <a:lnTo>
                    <a:pt x="3025" y="1931"/>
                  </a:lnTo>
                  <a:lnTo>
                    <a:pt x="3036" y="1911"/>
                  </a:lnTo>
                  <a:lnTo>
                    <a:pt x="3052" y="1896"/>
                  </a:lnTo>
                  <a:lnTo>
                    <a:pt x="3070" y="1886"/>
                  </a:lnTo>
                  <a:lnTo>
                    <a:pt x="3090" y="1880"/>
                  </a:lnTo>
                  <a:lnTo>
                    <a:pt x="3111" y="1880"/>
                  </a:lnTo>
                  <a:lnTo>
                    <a:pt x="3132" y="1886"/>
                  </a:lnTo>
                  <a:lnTo>
                    <a:pt x="3150" y="1896"/>
                  </a:lnTo>
                  <a:lnTo>
                    <a:pt x="3372" y="2066"/>
                  </a:lnTo>
                  <a:lnTo>
                    <a:pt x="3052" y="1079"/>
                  </a:lnTo>
                  <a:lnTo>
                    <a:pt x="3013" y="1080"/>
                  </a:lnTo>
                  <a:lnTo>
                    <a:pt x="2961" y="1077"/>
                  </a:lnTo>
                  <a:lnTo>
                    <a:pt x="2911" y="1067"/>
                  </a:lnTo>
                  <a:lnTo>
                    <a:pt x="2864" y="1050"/>
                  </a:lnTo>
                  <a:lnTo>
                    <a:pt x="2819" y="1028"/>
                  </a:lnTo>
                  <a:lnTo>
                    <a:pt x="2778" y="1001"/>
                  </a:lnTo>
                  <a:lnTo>
                    <a:pt x="2741" y="968"/>
                  </a:lnTo>
                  <a:lnTo>
                    <a:pt x="2708" y="930"/>
                  </a:lnTo>
                  <a:lnTo>
                    <a:pt x="2680" y="890"/>
                  </a:lnTo>
                  <a:lnTo>
                    <a:pt x="2658" y="845"/>
                  </a:lnTo>
                  <a:lnTo>
                    <a:pt x="2642" y="797"/>
                  </a:lnTo>
                  <a:lnTo>
                    <a:pt x="2631" y="748"/>
                  </a:lnTo>
                  <a:lnTo>
                    <a:pt x="2628" y="696"/>
                  </a:lnTo>
                  <a:lnTo>
                    <a:pt x="2628" y="696"/>
                  </a:lnTo>
                  <a:lnTo>
                    <a:pt x="2494" y="794"/>
                  </a:lnTo>
                  <a:lnTo>
                    <a:pt x="2479" y="803"/>
                  </a:lnTo>
                  <a:lnTo>
                    <a:pt x="2463" y="809"/>
                  </a:lnTo>
                  <a:lnTo>
                    <a:pt x="2445" y="810"/>
                  </a:lnTo>
                  <a:lnTo>
                    <a:pt x="2427" y="808"/>
                  </a:lnTo>
                  <a:lnTo>
                    <a:pt x="2410" y="802"/>
                  </a:lnTo>
                  <a:lnTo>
                    <a:pt x="2393" y="792"/>
                  </a:lnTo>
                  <a:lnTo>
                    <a:pt x="2380" y="778"/>
                  </a:lnTo>
                  <a:lnTo>
                    <a:pt x="2369" y="758"/>
                  </a:lnTo>
                  <a:lnTo>
                    <a:pt x="2365" y="737"/>
                  </a:lnTo>
                  <a:lnTo>
                    <a:pt x="2365" y="717"/>
                  </a:lnTo>
                  <a:lnTo>
                    <a:pt x="2370" y="697"/>
                  </a:lnTo>
                  <a:lnTo>
                    <a:pt x="2381" y="678"/>
                  </a:lnTo>
                  <a:lnTo>
                    <a:pt x="2397" y="663"/>
                  </a:lnTo>
                  <a:lnTo>
                    <a:pt x="2633" y="488"/>
                  </a:lnTo>
                  <a:lnTo>
                    <a:pt x="1593" y="488"/>
                  </a:lnTo>
                  <a:close/>
                  <a:moveTo>
                    <a:pt x="3013" y="474"/>
                  </a:moveTo>
                  <a:lnTo>
                    <a:pt x="2973" y="477"/>
                  </a:lnTo>
                  <a:lnTo>
                    <a:pt x="2936" y="488"/>
                  </a:lnTo>
                  <a:lnTo>
                    <a:pt x="2902" y="504"/>
                  </a:lnTo>
                  <a:lnTo>
                    <a:pt x="2871" y="526"/>
                  </a:lnTo>
                  <a:lnTo>
                    <a:pt x="2844" y="552"/>
                  </a:lnTo>
                  <a:lnTo>
                    <a:pt x="2822" y="584"/>
                  </a:lnTo>
                  <a:lnTo>
                    <a:pt x="2806" y="618"/>
                  </a:lnTo>
                  <a:lnTo>
                    <a:pt x="2795" y="655"/>
                  </a:lnTo>
                  <a:lnTo>
                    <a:pt x="2792" y="696"/>
                  </a:lnTo>
                  <a:lnTo>
                    <a:pt x="2795" y="735"/>
                  </a:lnTo>
                  <a:lnTo>
                    <a:pt x="2806" y="773"/>
                  </a:lnTo>
                  <a:lnTo>
                    <a:pt x="2822" y="808"/>
                  </a:lnTo>
                  <a:lnTo>
                    <a:pt x="2844" y="838"/>
                  </a:lnTo>
                  <a:lnTo>
                    <a:pt x="2871" y="864"/>
                  </a:lnTo>
                  <a:lnTo>
                    <a:pt x="2902" y="886"/>
                  </a:lnTo>
                  <a:lnTo>
                    <a:pt x="2936" y="904"/>
                  </a:lnTo>
                  <a:lnTo>
                    <a:pt x="2973" y="914"/>
                  </a:lnTo>
                  <a:lnTo>
                    <a:pt x="3013" y="918"/>
                  </a:lnTo>
                  <a:lnTo>
                    <a:pt x="3053" y="914"/>
                  </a:lnTo>
                  <a:lnTo>
                    <a:pt x="3090" y="904"/>
                  </a:lnTo>
                  <a:lnTo>
                    <a:pt x="3125" y="886"/>
                  </a:lnTo>
                  <a:lnTo>
                    <a:pt x="3156" y="864"/>
                  </a:lnTo>
                  <a:lnTo>
                    <a:pt x="3182" y="838"/>
                  </a:lnTo>
                  <a:lnTo>
                    <a:pt x="3204" y="808"/>
                  </a:lnTo>
                  <a:lnTo>
                    <a:pt x="3221" y="773"/>
                  </a:lnTo>
                  <a:lnTo>
                    <a:pt x="3231" y="735"/>
                  </a:lnTo>
                  <a:lnTo>
                    <a:pt x="3234" y="696"/>
                  </a:lnTo>
                  <a:lnTo>
                    <a:pt x="3231" y="655"/>
                  </a:lnTo>
                  <a:lnTo>
                    <a:pt x="3221" y="618"/>
                  </a:lnTo>
                  <a:lnTo>
                    <a:pt x="3204" y="584"/>
                  </a:lnTo>
                  <a:lnTo>
                    <a:pt x="3182" y="552"/>
                  </a:lnTo>
                  <a:lnTo>
                    <a:pt x="3156" y="526"/>
                  </a:lnTo>
                  <a:lnTo>
                    <a:pt x="3125" y="504"/>
                  </a:lnTo>
                  <a:lnTo>
                    <a:pt x="3090" y="488"/>
                  </a:lnTo>
                  <a:lnTo>
                    <a:pt x="3053" y="477"/>
                  </a:lnTo>
                  <a:lnTo>
                    <a:pt x="3013" y="474"/>
                  </a:lnTo>
                  <a:close/>
                  <a:moveTo>
                    <a:pt x="1216" y="184"/>
                  </a:moveTo>
                  <a:lnTo>
                    <a:pt x="1177" y="187"/>
                  </a:lnTo>
                  <a:lnTo>
                    <a:pt x="1140" y="198"/>
                  </a:lnTo>
                  <a:lnTo>
                    <a:pt x="1105" y="214"/>
                  </a:lnTo>
                  <a:lnTo>
                    <a:pt x="1074" y="236"/>
                  </a:lnTo>
                  <a:lnTo>
                    <a:pt x="1048" y="264"/>
                  </a:lnTo>
                  <a:lnTo>
                    <a:pt x="1026" y="294"/>
                  </a:lnTo>
                  <a:lnTo>
                    <a:pt x="1010" y="328"/>
                  </a:lnTo>
                  <a:lnTo>
                    <a:pt x="999" y="366"/>
                  </a:lnTo>
                  <a:lnTo>
                    <a:pt x="996" y="406"/>
                  </a:lnTo>
                  <a:lnTo>
                    <a:pt x="999" y="446"/>
                  </a:lnTo>
                  <a:lnTo>
                    <a:pt x="1010" y="483"/>
                  </a:lnTo>
                  <a:lnTo>
                    <a:pt x="1026" y="518"/>
                  </a:lnTo>
                  <a:lnTo>
                    <a:pt x="1048" y="549"/>
                  </a:lnTo>
                  <a:lnTo>
                    <a:pt x="1074" y="576"/>
                  </a:lnTo>
                  <a:lnTo>
                    <a:pt x="1105" y="598"/>
                  </a:lnTo>
                  <a:lnTo>
                    <a:pt x="1140" y="614"/>
                  </a:lnTo>
                  <a:lnTo>
                    <a:pt x="1177" y="624"/>
                  </a:lnTo>
                  <a:lnTo>
                    <a:pt x="1216" y="628"/>
                  </a:lnTo>
                  <a:lnTo>
                    <a:pt x="1257" y="624"/>
                  </a:lnTo>
                  <a:lnTo>
                    <a:pt x="1294" y="614"/>
                  </a:lnTo>
                  <a:lnTo>
                    <a:pt x="1328" y="598"/>
                  </a:lnTo>
                  <a:lnTo>
                    <a:pt x="1360" y="576"/>
                  </a:lnTo>
                  <a:lnTo>
                    <a:pt x="1386" y="549"/>
                  </a:lnTo>
                  <a:lnTo>
                    <a:pt x="1408" y="518"/>
                  </a:lnTo>
                  <a:lnTo>
                    <a:pt x="1424" y="483"/>
                  </a:lnTo>
                  <a:lnTo>
                    <a:pt x="1435" y="446"/>
                  </a:lnTo>
                  <a:lnTo>
                    <a:pt x="1438" y="406"/>
                  </a:lnTo>
                  <a:lnTo>
                    <a:pt x="1435" y="366"/>
                  </a:lnTo>
                  <a:lnTo>
                    <a:pt x="1424" y="328"/>
                  </a:lnTo>
                  <a:lnTo>
                    <a:pt x="1408" y="294"/>
                  </a:lnTo>
                  <a:lnTo>
                    <a:pt x="1386" y="264"/>
                  </a:lnTo>
                  <a:lnTo>
                    <a:pt x="1360" y="236"/>
                  </a:lnTo>
                  <a:lnTo>
                    <a:pt x="1328" y="214"/>
                  </a:lnTo>
                  <a:lnTo>
                    <a:pt x="1294" y="198"/>
                  </a:lnTo>
                  <a:lnTo>
                    <a:pt x="1257" y="187"/>
                  </a:lnTo>
                  <a:lnTo>
                    <a:pt x="1216" y="184"/>
                  </a:lnTo>
                  <a:close/>
                  <a:moveTo>
                    <a:pt x="2455" y="0"/>
                  </a:moveTo>
                  <a:lnTo>
                    <a:pt x="2475" y="5"/>
                  </a:lnTo>
                  <a:lnTo>
                    <a:pt x="2494" y="16"/>
                  </a:lnTo>
                  <a:lnTo>
                    <a:pt x="2910" y="324"/>
                  </a:lnTo>
                  <a:lnTo>
                    <a:pt x="2943" y="317"/>
                  </a:lnTo>
                  <a:lnTo>
                    <a:pt x="2978" y="312"/>
                  </a:lnTo>
                  <a:lnTo>
                    <a:pt x="3013" y="310"/>
                  </a:lnTo>
                  <a:lnTo>
                    <a:pt x="3066" y="313"/>
                  </a:lnTo>
                  <a:lnTo>
                    <a:pt x="3115" y="324"/>
                  </a:lnTo>
                  <a:lnTo>
                    <a:pt x="3163" y="340"/>
                  </a:lnTo>
                  <a:lnTo>
                    <a:pt x="3208" y="363"/>
                  </a:lnTo>
                  <a:lnTo>
                    <a:pt x="3248" y="391"/>
                  </a:lnTo>
                  <a:lnTo>
                    <a:pt x="3285" y="423"/>
                  </a:lnTo>
                  <a:lnTo>
                    <a:pt x="3318" y="460"/>
                  </a:lnTo>
                  <a:lnTo>
                    <a:pt x="3345" y="502"/>
                  </a:lnTo>
                  <a:lnTo>
                    <a:pt x="3368" y="546"/>
                  </a:lnTo>
                  <a:lnTo>
                    <a:pt x="3385" y="593"/>
                  </a:lnTo>
                  <a:lnTo>
                    <a:pt x="3395" y="644"/>
                  </a:lnTo>
                  <a:lnTo>
                    <a:pt x="3398" y="696"/>
                  </a:lnTo>
                  <a:lnTo>
                    <a:pt x="3395" y="748"/>
                  </a:lnTo>
                  <a:lnTo>
                    <a:pt x="3385" y="797"/>
                  </a:lnTo>
                  <a:lnTo>
                    <a:pt x="3368" y="846"/>
                  </a:lnTo>
                  <a:lnTo>
                    <a:pt x="3345" y="890"/>
                  </a:lnTo>
                  <a:lnTo>
                    <a:pt x="3318" y="931"/>
                  </a:lnTo>
                  <a:lnTo>
                    <a:pt x="3285" y="968"/>
                  </a:lnTo>
                  <a:lnTo>
                    <a:pt x="3248" y="1001"/>
                  </a:lnTo>
                  <a:lnTo>
                    <a:pt x="3207" y="1028"/>
                  </a:lnTo>
                  <a:lnTo>
                    <a:pt x="3537" y="2044"/>
                  </a:lnTo>
                  <a:lnTo>
                    <a:pt x="3646" y="1754"/>
                  </a:lnTo>
                  <a:lnTo>
                    <a:pt x="3656" y="1734"/>
                  </a:lnTo>
                  <a:lnTo>
                    <a:pt x="3671" y="1719"/>
                  </a:lnTo>
                  <a:lnTo>
                    <a:pt x="3688" y="1708"/>
                  </a:lnTo>
                  <a:lnTo>
                    <a:pt x="3709" y="1702"/>
                  </a:lnTo>
                  <a:lnTo>
                    <a:pt x="3730" y="1701"/>
                  </a:lnTo>
                  <a:lnTo>
                    <a:pt x="3752" y="1706"/>
                  </a:lnTo>
                  <a:lnTo>
                    <a:pt x="3770" y="1717"/>
                  </a:lnTo>
                  <a:lnTo>
                    <a:pt x="3787" y="1731"/>
                  </a:lnTo>
                  <a:lnTo>
                    <a:pt x="3797" y="1749"/>
                  </a:lnTo>
                  <a:lnTo>
                    <a:pt x="3804" y="1769"/>
                  </a:lnTo>
                  <a:lnTo>
                    <a:pt x="3804" y="1790"/>
                  </a:lnTo>
                  <a:lnTo>
                    <a:pt x="3799" y="1812"/>
                  </a:lnTo>
                  <a:lnTo>
                    <a:pt x="3620" y="2288"/>
                  </a:lnTo>
                  <a:lnTo>
                    <a:pt x="3641" y="2325"/>
                  </a:lnTo>
                  <a:lnTo>
                    <a:pt x="3656" y="2363"/>
                  </a:lnTo>
                  <a:lnTo>
                    <a:pt x="3669" y="2404"/>
                  </a:lnTo>
                  <a:lnTo>
                    <a:pt x="3676" y="2447"/>
                  </a:lnTo>
                  <a:lnTo>
                    <a:pt x="3678" y="2491"/>
                  </a:lnTo>
                  <a:lnTo>
                    <a:pt x="3675" y="2543"/>
                  </a:lnTo>
                  <a:lnTo>
                    <a:pt x="3664" y="2593"/>
                  </a:lnTo>
                  <a:lnTo>
                    <a:pt x="3648" y="2640"/>
                  </a:lnTo>
                  <a:lnTo>
                    <a:pt x="3626" y="2685"/>
                  </a:lnTo>
                  <a:lnTo>
                    <a:pt x="3598" y="2725"/>
                  </a:lnTo>
                  <a:lnTo>
                    <a:pt x="3565" y="2762"/>
                  </a:lnTo>
                  <a:lnTo>
                    <a:pt x="3528" y="2796"/>
                  </a:lnTo>
                  <a:lnTo>
                    <a:pt x="3487" y="2824"/>
                  </a:lnTo>
                  <a:lnTo>
                    <a:pt x="3442" y="2845"/>
                  </a:lnTo>
                  <a:lnTo>
                    <a:pt x="3395" y="2862"/>
                  </a:lnTo>
                  <a:lnTo>
                    <a:pt x="3345" y="2872"/>
                  </a:lnTo>
                  <a:lnTo>
                    <a:pt x="3293" y="2876"/>
                  </a:lnTo>
                  <a:lnTo>
                    <a:pt x="3245" y="2873"/>
                  </a:lnTo>
                  <a:lnTo>
                    <a:pt x="3199" y="2864"/>
                  </a:lnTo>
                  <a:lnTo>
                    <a:pt x="3154" y="2850"/>
                  </a:lnTo>
                  <a:lnTo>
                    <a:pt x="3112" y="2830"/>
                  </a:lnTo>
                  <a:lnTo>
                    <a:pt x="3074" y="2807"/>
                  </a:lnTo>
                  <a:lnTo>
                    <a:pt x="3038" y="2778"/>
                  </a:lnTo>
                  <a:lnTo>
                    <a:pt x="2147" y="3425"/>
                  </a:lnTo>
                  <a:lnTo>
                    <a:pt x="2464" y="3445"/>
                  </a:lnTo>
                  <a:lnTo>
                    <a:pt x="2486" y="3450"/>
                  </a:lnTo>
                  <a:lnTo>
                    <a:pt x="2504" y="3459"/>
                  </a:lnTo>
                  <a:lnTo>
                    <a:pt x="2521" y="3473"/>
                  </a:lnTo>
                  <a:lnTo>
                    <a:pt x="2532" y="3490"/>
                  </a:lnTo>
                  <a:lnTo>
                    <a:pt x="2539" y="3510"/>
                  </a:lnTo>
                  <a:lnTo>
                    <a:pt x="2540" y="3532"/>
                  </a:lnTo>
                  <a:lnTo>
                    <a:pt x="2537" y="3552"/>
                  </a:lnTo>
                  <a:lnTo>
                    <a:pt x="2527" y="3571"/>
                  </a:lnTo>
                  <a:lnTo>
                    <a:pt x="2515" y="3586"/>
                  </a:lnTo>
                  <a:lnTo>
                    <a:pt x="2499" y="3599"/>
                  </a:lnTo>
                  <a:lnTo>
                    <a:pt x="2480" y="3606"/>
                  </a:lnTo>
                  <a:lnTo>
                    <a:pt x="2459" y="3609"/>
                  </a:lnTo>
                  <a:lnTo>
                    <a:pt x="2454" y="3608"/>
                  </a:lnTo>
                  <a:lnTo>
                    <a:pt x="1942" y="3577"/>
                  </a:lnTo>
                  <a:lnTo>
                    <a:pt x="1911" y="3607"/>
                  </a:lnTo>
                  <a:lnTo>
                    <a:pt x="1875" y="3633"/>
                  </a:lnTo>
                  <a:lnTo>
                    <a:pt x="1837" y="3655"/>
                  </a:lnTo>
                  <a:lnTo>
                    <a:pt x="1796" y="3674"/>
                  </a:lnTo>
                  <a:lnTo>
                    <a:pt x="1754" y="3686"/>
                  </a:lnTo>
                  <a:lnTo>
                    <a:pt x="1708" y="3695"/>
                  </a:lnTo>
                  <a:lnTo>
                    <a:pt x="1662" y="3698"/>
                  </a:lnTo>
                  <a:lnTo>
                    <a:pt x="1609" y="3695"/>
                  </a:lnTo>
                  <a:lnTo>
                    <a:pt x="1559" y="3684"/>
                  </a:lnTo>
                  <a:lnTo>
                    <a:pt x="1512" y="3667"/>
                  </a:lnTo>
                  <a:lnTo>
                    <a:pt x="1467" y="3645"/>
                  </a:lnTo>
                  <a:lnTo>
                    <a:pt x="1427" y="3617"/>
                  </a:lnTo>
                  <a:lnTo>
                    <a:pt x="1390" y="3585"/>
                  </a:lnTo>
                  <a:lnTo>
                    <a:pt x="1357" y="3548"/>
                  </a:lnTo>
                  <a:lnTo>
                    <a:pt x="1330" y="3506"/>
                  </a:lnTo>
                  <a:lnTo>
                    <a:pt x="1306" y="3462"/>
                  </a:lnTo>
                  <a:lnTo>
                    <a:pt x="1290" y="3415"/>
                  </a:lnTo>
                  <a:lnTo>
                    <a:pt x="1280" y="3364"/>
                  </a:lnTo>
                  <a:lnTo>
                    <a:pt x="1276" y="3312"/>
                  </a:lnTo>
                  <a:lnTo>
                    <a:pt x="1279" y="3271"/>
                  </a:lnTo>
                  <a:lnTo>
                    <a:pt x="1286" y="3230"/>
                  </a:lnTo>
                  <a:lnTo>
                    <a:pt x="1296" y="3191"/>
                  </a:lnTo>
                  <a:lnTo>
                    <a:pt x="1311" y="3154"/>
                  </a:lnTo>
                  <a:lnTo>
                    <a:pt x="489" y="2557"/>
                  </a:lnTo>
                  <a:lnTo>
                    <a:pt x="581" y="2821"/>
                  </a:lnTo>
                  <a:lnTo>
                    <a:pt x="586" y="2842"/>
                  </a:lnTo>
                  <a:lnTo>
                    <a:pt x="585" y="2863"/>
                  </a:lnTo>
                  <a:lnTo>
                    <a:pt x="579" y="2884"/>
                  </a:lnTo>
                  <a:lnTo>
                    <a:pt x="567" y="2901"/>
                  </a:lnTo>
                  <a:lnTo>
                    <a:pt x="551" y="2915"/>
                  </a:lnTo>
                  <a:lnTo>
                    <a:pt x="531" y="2925"/>
                  </a:lnTo>
                  <a:lnTo>
                    <a:pt x="518" y="2929"/>
                  </a:lnTo>
                  <a:lnTo>
                    <a:pt x="505" y="2930"/>
                  </a:lnTo>
                  <a:lnTo>
                    <a:pt x="484" y="2928"/>
                  </a:lnTo>
                  <a:lnTo>
                    <a:pt x="466" y="2921"/>
                  </a:lnTo>
                  <a:lnTo>
                    <a:pt x="449" y="2909"/>
                  </a:lnTo>
                  <a:lnTo>
                    <a:pt x="437" y="2894"/>
                  </a:lnTo>
                  <a:lnTo>
                    <a:pt x="427" y="2876"/>
                  </a:lnTo>
                  <a:lnTo>
                    <a:pt x="258" y="2393"/>
                  </a:lnTo>
                  <a:lnTo>
                    <a:pt x="214" y="2374"/>
                  </a:lnTo>
                  <a:lnTo>
                    <a:pt x="173" y="2351"/>
                  </a:lnTo>
                  <a:lnTo>
                    <a:pt x="136" y="2323"/>
                  </a:lnTo>
                  <a:lnTo>
                    <a:pt x="102" y="2291"/>
                  </a:lnTo>
                  <a:lnTo>
                    <a:pt x="73" y="2254"/>
                  </a:lnTo>
                  <a:lnTo>
                    <a:pt x="47" y="2215"/>
                  </a:lnTo>
                  <a:lnTo>
                    <a:pt x="28" y="2172"/>
                  </a:lnTo>
                  <a:lnTo>
                    <a:pt x="13" y="2127"/>
                  </a:lnTo>
                  <a:lnTo>
                    <a:pt x="3" y="2080"/>
                  </a:lnTo>
                  <a:lnTo>
                    <a:pt x="0" y="2030"/>
                  </a:lnTo>
                  <a:lnTo>
                    <a:pt x="3" y="1978"/>
                  </a:lnTo>
                  <a:lnTo>
                    <a:pt x="14" y="1927"/>
                  </a:lnTo>
                  <a:lnTo>
                    <a:pt x="30" y="1880"/>
                  </a:lnTo>
                  <a:lnTo>
                    <a:pt x="53" y="1836"/>
                  </a:lnTo>
                  <a:lnTo>
                    <a:pt x="81" y="1794"/>
                  </a:lnTo>
                  <a:lnTo>
                    <a:pt x="113" y="1757"/>
                  </a:lnTo>
                  <a:lnTo>
                    <a:pt x="150" y="1725"/>
                  </a:lnTo>
                  <a:lnTo>
                    <a:pt x="191" y="1697"/>
                  </a:lnTo>
                  <a:lnTo>
                    <a:pt x="236" y="1675"/>
                  </a:lnTo>
                  <a:lnTo>
                    <a:pt x="283" y="1658"/>
                  </a:lnTo>
                  <a:lnTo>
                    <a:pt x="333" y="1648"/>
                  </a:lnTo>
                  <a:lnTo>
                    <a:pt x="386" y="1644"/>
                  </a:lnTo>
                  <a:lnTo>
                    <a:pt x="425" y="1646"/>
                  </a:lnTo>
                  <a:lnTo>
                    <a:pt x="768" y="588"/>
                  </a:lnTo>
                  <a:lnTo>
                    <a:pt x="471" y="749"/>
                  </a:lnTo>
                  <a:lnTo>
                    <a:pt x="452" y="756"/>
                  </a:lnTo>
                  <a:lnTo>
                    <a:pt x="430" y="758"/>
                  </a:lnTo>
                  <a:lnTo>
                    <a:pt x="409" y="755"/>
                  </a:lnTo>
                  <a:lnTo>
                    <a:pt x="390" y="747"/>
                  </a:lnTo>
                  <a:lnTo>
                    <a:pt x="374" y="733"/>
                  </a:lnTo>
                  <a:lnTo>
                    <a:pt x="360" y="715"/>
                  </a:lnTo>
                  <a:lnTo>
                    <a:pt x="353" y="695"/>
                  </a:lnTo>
                  <a:lnTo>
                    <a:pt x="351" y="674"/>
                  </a:lnTo>
                  <a:lnTo>
                    <a:pt x="355" y="653"/>
                  </a:lnTo>
                  <a:lnTo>
                    <a:pt x="363" y="633"/>
                  </a:lnTo>
                  <a:lnTo>
                    <a:pt x="377" y="617"/>
                  </a:lnTo>
                  <a:lnTo>
                    <a:pt x="394" y="604"/>
                  </a:lnTo>
                  <a:lnTo>
                    <a:pt x="834" y="366"/>
                  </a:lnTo>
                  <a:lnTo>
                    <a:pt x="841" y="319"/>
                  </a:lnTo>
                  <a:lnTo>
                    <a:pt x="855" y="273"/>
                  </a:lnTo>
                  <a:lnTo>
                    <a:pt x="873" y="230"/>
                  </a:lnTo>
                  <a:lnTo>
                    <a:pt x="898" y="191"/>
                  </a:lnTo>
                  <a:lnTo>
                    <a:pt x="925" y="154"/>
                  </a:lnTo>
                  <a:lnTo>
                    <a:pt x="958" y="120"/>
                  </a:lnTo>
                  <a:lnTo>
                    <a:pt x="995" y="92"/>
                  </a:lnTo>
                  <a:lnTo>
                    <a:pt x="1034" y="67"/>
                  </a:lnTo>
                  <a:lnTo>
                    <a:pt x="1075" y="48"/>
                  </a:lnTo>
                  <a:lnTo>
                    <a:pt x="1120" y="33"/>
                  </a:lnTo>
                  <a:lnTo>
                    <a:pt x="1168" y="23"/>
                  </a:lnTo>
                  <a:lnTo>
                    <a:pt x="1216" y="21"/>
                  </a:lnTo>
                  <a:lnTo>
                    <a:pt x="1266" y="23"/>
                  </a:lnTo>
                  <a:lnTo>
                    <a:pt x="1315" y="33"/>
                  </a:lnTo>
                  <a:lnTo>
                    <a:pt x="1360" y="48"/>
                  </a:lnTo>
                  <a:lnTo>
                    <a:pt x="1402" y="68"/>
                  </a:lnTo>
                  <a:lnTo>
                    <a:pt x="1442" y="93"/>
                  </a:lnTo>
                  <a:lnTo>
                    <a:pt x="1479" y="123"/>
                  </a:lnTo>
                  <a:lnTo>
                    <a:pt x="1511" y="156"/>
                  </a:lnTo>
                  <a:lnTo>
                    <a:pt x="1539" y="194"/>
                  </a:lnTo>
                  <a:lnTo>
                    <a:pt x="1562" y="235"/>
                  </a:lnTo>
                  <a:lnTo>
                    <a:pt x="1580" y="279"/>
                  </a:lnTo>
                  <a:lnTo>
                    <a:pt x="1594" y="325"/>
                  </a:lnTo>
                  <a:lnTo>
                    <a:pt x="2636" y="325"/>
                  </a:lnTo>
                  <a:lnTo>
                    <a:pt x="2397" y="147"/>
                  </a:lnTo>
                  <a:lnTo>
                    <a:pt x="2381" y="132"/>
                  </a:lnTo>
                  <a:lnTo>
                    <a:pt x="2370" y="114"/>
                  </a:lnTo>
                  <a:lnTo>
                    <a:pt x="2365" y="94"/>
                  </a:lnTo>
                  <a:lnTo>
                    <a:pt x="2365" y="73"/>
                  </a:lnTo>
                  <a:lnTo>
                    <a:pt x="2369" y="52"/>
                  </a:lnTo>
                  <a:lnTo>
                    <a:pt x="2380" y="33"/>
                  </a:lnTo>
                  <a:lnTo>
                    <a:pt x="2396" y="18"/>
                  </a:lnTo>
                  <a:lnTo>
                    <a:pt x="2413" y="6"/>
                  </a:lnTo>
                  <a:lnTo>
                    <a:pt x="2434" y="0"/>
                  </a:lnTo>
                  <a:lnTo>
                    <a:pt x="24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</p:grpSp>
    </p:spTree>
    <p:extLst>
      <p:ext uri="{BB962C8B-B14F-4D97-AF65-F5344CB8AC3E}">
        <p14:creationId xmlns:p14="http://schemas.microsoft.com/office/powerpoint/2010/main" val="9645120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644229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053" name="think-cell Slide" r:id="rId33" imgW="0" imgH="0" progId="TCLayout.ActiveDocument.1">
                  <p:embed/>
                </p:oleObj>
              </mc:Choice>
              <mc:Fallback>
                <p:oleObj name="think-cell Slide" r:id="rId33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644229"/>
                        <a:ext cx="1587" cy="12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5" name="Table 74"/>
          <p:cNvGraphicFramePr>
            <a:graphicFrameLocks noGrp="1"/>
          </p:cNvGraphicFramePr>
          <p:nvPr>
            <p:extLst/>
          </p:nvPr>
        </p:nvGraphicFramePr>
        <p:xfrm>
          <a:off x="457200" y="1439779"/>
          <a:ext cx="8991600" cy="44025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8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94612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954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26430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udowa i wdrożenie Krajowego Systemu Zarządzania Ruchem (KSZR) w sieci TEN-T i wdrożenie wybranych - najważniejszych usług ITS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0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4080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2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udowa i wdrożenie usług cyfrowych Krajowego Punku Dostępowego (KPD) do Informacji o Warunkach Ruchu</a:t>
                      </a:r>
                    </a:p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tap</a:t>
                      </a:r>
                      <a:r>
                        <a:rPr lang="pl-PL" sz="9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I – utworzenie KPD1</a:t>
                      </a:r>
                    </a:p>
                    <a:p>
                      <a:pPr algn="l" rtl="0" fontAlgn="ctr"/>
                      <a:r>
                        <a:rPr lang="pl-PL" sz="9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tap II – rozbudowa KPD1</a:t>
                      </a:r>
                      <a:endParaRPr lang="pl-PL" sz="90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7</a:t>
                      </a:r>
                    </a:p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9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3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uropejska Platforma ITS </a:t>
                      </a:r>
                      <a:endParaRPr lang="pl-PL" sz="90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0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4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jekty badawczo-rozwojowe w ramach programu Rozwój Innowacji Drogowych w obszarze usług cyfrowych ITS 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3.2018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5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MIM</a:t>
                      </a:r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: stworzenie podstaw systemu administracyjnego pomiaru parametrów pojazdów nienormatywnych 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l-PL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.2019</a:t>
                      </a:r>
                      <a:endParaRPr lang="pl-PL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l-PL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.6</a:t>
                      </a:r>
                      <a:endParaRPr lang="pl-PL" sz="9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ntegracja samodzielnych (funkcjonujących autonomicznie) rozwiązań ITS oraz systemów zarządzania ruchem 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3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8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drożenie Platformy Usług Elektronicznych</a:t>
                      </a:r>
                      <a:r>
                        <a:rPr lang="pl-PL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karbowo-Celnych (PUESC)  v. 4.2 Single </a:t>
                      </a:r>
                      <a:r>
                        <a:rPr lang="pl-PL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indow</a:t>
                      </a:r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PLUS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1.2021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9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drożenie usług cyfrowych System Awizacji Towarów i Osób (SATOS) – Projekt Cyfrowa Granica i Cyfrowa Obsługa Celna 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0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0 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altLang="en-US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Wdrożenie cyfrowego międzynarodowego listu  przewozowego e-CMR </a:t>
                      </a:r>
                      <a:endParaRPr lang="pl-PL" sz="900" dirty="0">
                        <a:solidFill>
                          <a:schemeClr val="tx1"/>
                        </a:solidFill>
                        <a:latin typeface="Calibri"/>
                        <a:sym typeface="Calibri"/>
                      </a:endParaRP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2.2019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1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Wdrożenie usług cyfrowych </a:t>
                      </a:r>
                      <a:r>
                        <a:rPr lang="pl-PL" sz="900" dirty="0" err="1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synchromodalnego</a:t>
                      </a:r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 zarządzania operacjami portowymi dla transportu intermodalnego</a:t>
                      </a:r>
                      <a:r>
                        <a:rPr lang="pl-PL" sz="900" baseline="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 </a:t>
                      </a:r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(e-</a:t>
                      </a:r>
                      <a:r>
                        <a:rPr lang="pl-PL" sz="900" dirty="0" err="1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Impact</a:t>
                      </a:r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) 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kończony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4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Pełne wdrożenie systemu informacji rzecznej RIS Dolnej Odry oraz usług cyfrowych Centrum RIS </a:t>
                      </a:r>
                      <a:endParaRPr lang="pl-PL" sz="900" dirty="0">
                        <a:solidFill>
                          <a:schemeClr val="tx1"/>
                        </a:solidFill>
                        <a:latin typeface="Calibri"/>
                        <a:sym typeface="Calibri"/>
                      </a:endParaRP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0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5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Wdrożenie zintegrowanego systemu zarządzania flotą pojazdów narodowego operatora pocztowego 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9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6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Wdrożenie zintegrowanego systemu zarządzania procesami transportowymi i strumieniem przesyłek narodowego operatora pocztowego (redukcja kosztów transportu na odcinku pierwszej i ostatniej mili)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2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7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Wdrożenie automatycznego systemu identyfikacji i monitorowania przesyłek narodowego operatora pocztowego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3.2025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6" name="Grupa 5"/>
          <p:cNvGrpSpPr/>
          <p:nvPr/>
        </p:nvGrpSpPr>
        <p:grpSpPr>
          <a:xfrm>
            <a:off x="7198072" y="3479924"/>
            <a:ext cx="203200" cy="165100"/>
            <a:chOff x="5457056" y="70487"/>
            <a:chExt cx="203200" cy="203200"/>
          </a:xfrm>
        </p:grpSpPr>
        <p:sp>
          <p:nvSpPr>
            <p:cNvPr id="56" name="Oval 128"/>
            <p:cNvSpPr/>
            <p:nvPr>
              <p:custDataLst>
                <p:tags r:id="rId29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Arc 136"/>
            <p:cNvSpPr/>
            <p:nvPr>
              <p:custDataLst>
                <p:tags r:id="rId30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8" name="Grupa 57"/>
          <p:cNvGrpSpPr/>
          <p:nvPr/>
        </p:nvGrpSpPr>
        <p:grpSpPr>
          <a:xfrm>
            <a:off x="7198072" y="1859744"/>
            <a:ext cx="203200" cy="165100"/>
            <a:chOff x="6978703" y="193675"/>
            <a:chExt cx="203200" cy="203200"/>
          </a:xfrm>
        </p:grpSpPr>
        <p:sp>
          <p:nvSpPr>
            <p:cNvPr id="59" name="Oval 128"/>
            <p:cNvSpPr/>
            <p:nvPr>
              <p:custDataLst>
                <p:tags r:id="rId27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Arc 1"/>
            <p:cNvSpPr/>
            <p:nvPr>
              <p:custDataLst>
                <p:tags r:id="rId28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sp>
        <p:nvSpPr>
          <p:cNvPr id="61" name="Oval 123"/>
          <p:cNvSpPr/>
          <p:nvPr/>
        </p:nvSpPr>
        <p:spPr bwMode="auto">
          <a:xfrm>
            <a:off x="8141012" y="1865299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grpSp>
        <p:nvGrpSpPr>
          <p:cNvPr id="62" name="Grupa 61"/>
          <p:cNvGrpSpPr/>
          <p:nvPr/>
        </p:nvGrpSpPr>
        <p:grpSpPr>
          <a:xfrm>
            <a:off x="7198072" y="2269290"/>
            <a:ext cx="203200" cy="165100"/>
            <a:chOff x="6112059" y="193675"/>
            <a:chExt cx="203200" cy="203200"/>
          </a:xfrm>
        </p:grpSpPr>
        <p:sp>
          <p:nvSpPr>
            <p:cNvPr id="63" name="Oval 128"/>
            <p:cNvSpPr/>
            <p:nvPr>
              <p:custDataLst>
                <p:tags r:id="rId26"/>
              </p:custDataLst>
            </p:nvPr>
          </p:nvSpPr>
          <p:spPr bwMode="gray">
            <a:xfrm>
              <a:off x="6112059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Arc 110"/>
            <p:cNvSpPr/>
            <p:nvPr/>
          </p:nvSpPr>
          <p:spPr bwMode="gray">
            <a:xfrm>
              <a:off x="6112059" y="193675"/>
              <a:ext cx="203200" cy="2032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5" name="Grupa 64"/>
          <p:cNvGrpSpPr/>
          <p:nvPr/>
        </p:nvGrpSpPr>
        <p:grpSpPr>
          <a:xfrm>
            <a:off x="7198072" y="2444809"/>
            <a:ext cx="203200" cy="165100"/>
            <a:chOff x="6978703" y="193675"/>
            <a:chExt cx="203200" cy="203200"/>
          </a:xfrm>
        </p:grpSpPr>
        <p:sp>
          <p:nvSpPr>
            <p:cNvPr id="66" name="Oval 128"/>
            <p:cNvSpPr/>
            <p:nvPr>
              <p:custDataLst>
                <p:tags r:id="rId24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Arc 1"/>
            <p:cNvSpPr/>
            <p:nvPr>
              <p:custDataLst>
                <p:tags r:id="rId25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Oval 119"/>
          <p:cNvSpPr/>
          <p:nvPr/>
        </p:nvSpPr>
        <p:spPr bwMode="auto">
          <a:xfrm>
            <a:off x="8141012" y="2258870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0" name="Oval 119"/>
          <p:cNvSpPr/>
          <p:nvPr/>
        </p:nvSpPr>
        <p:spPr bwMode="auto">
          <a:xfrm>
            <a:off x="8141012" y="2668416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1" name="Oval 119"/>
          <p:cNvSpPr/>
          <p:nvPr/>
        </p:nvSpPr>
        <p:spPr bwMode="auto">
          <a:xfrm>
            <a:off x="8141012" y="2918416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2" name="Oval 119"/>
          <p:cNvSpPr/>
          <p:nvPr/>
        </p:nvSpPr>
        <p:spPr bwMode="auto">
          <a:xfrm>
            <a:off x="8141012" y="3210948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3" name="Oval 119"/>
          <p:cNvSpPr/>
          <p:nvPr/>
        </p:nvSpPr>
        <p:spPr bwMode="auto">
          <a:xfrm>
            <a:off x="8141012" y="3546013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4" name="Oval 123"/>
          <p:cNvSpPr/>
          <p:nvPr/>
        </p:nvSpPr>
        <p:spPr bwMode="auto">
          <a:xfrm>
            <a:off x="8141012" y="3796013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6" name="Oval 123"/>
          <p:cNvSpPr/>
          <p:nvPr/>
        </p:nvSpPr>
        <p:spPr bwMode="auto">
          <a:xfrm>
            <a:off x="8141012" y="4030039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7" name="Oval 123"/>
          <p:cNvSpPr/>
          <p:nvPr/>
        </p:nvSpPr>
        <p:spPr bwMode="auto">
          <a:xfrm>
            <a:off x="8141012" y="4306598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9" name="Oval 119"/>
          <p:cNvSpPr/>
          <p:nvPr/>
        </p:nvSpPr>
        <p:spPr bwMode="auto">
          <a:xfrm>
            <a:off x="8141012" y="4833156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80" name="Oval 123"/>
          <p:cNvSpPr/>
          <p:nvPr/>
        </p:nvSpPr>
        <p:spPr bwMode="auto">
          <a:xfrm>
            <a:off x="8141012" y="5024650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81" name="Oval 123"/>
          <p:cNvSpPr/>
          <p:nvPr/>
        </p:nvSpPr>
        <p:spPr bwMode="auto">
          <a:xfrm>
            <a:off x="8141012" y="5317182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82" name="Oval 123"/>
          <p:cNvSpPr/>
          <p:nvPr/>
        </p:nvSpPr>
        <p:spPr bwMode="auto">
          <a:xfrm>
            <a:off x="8141012" y="5593741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grpSp>
        <p:nvGrpSpPr>
          <p:cNvPr id="84" name="Grupa 83"/>
          <p:cNvGrpSpPr/>
          <p:nvPr/>
        </p:nvGrpSpPr>
        <p:grpSpPr>
          <a:xfrm>
            <a:off x="7185249" y="2668416"/>
            <a:ext cx="203200" cy="165100"/>
            <a:chOff x="6978703" y="193675"/>
            <a:chExt cx="203200" cy="203200"/>
          </a:xfrm>
        </p:grpSpPr>
        <p:sp>
          <p:nvSpPr>
            <p:cNvPr id="85" name="Oval 128"/>
            <p:cNvSpPr/>
            <p:nvPr>
              <p:custDataLst>
                <p:tags r:id="rId22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Arc 1"/>
            <p:cNvSpPr/>
            <p:nvPr>
              <p:custDataLst>
                <p:tags r:id="rId23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7" name="Grupa 86"/>
          <p:cNvGrpSpPr/>
          <p:nvPr/>
        </p:nvGrpSpPr>
        <p:grpSpPr>
          <a:xfrm>
            <a:off x="7185249" y="3205394"/>
            <a:ext cx="203200" cy="165100"/>
            <a:chOff x="6978703" y="193675"/>
            <a:chExt cx="203200" cy="203200"/>
          </a:xfrm>
        </p:grpSpPr>
        <p:sp>
          <p:nvSpPr>
            <p:cNvPr id="88" name="Oval 128"/>
            <p:cNvSpPr/>
            <p:nvPr>
              <p:custDataLst>
                <p:tags r:id="rId20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Arc 1"/>
            <p:cNvSpPr/>
            <p:nvPr>
              <p:custDataLst>
                <p:tags r:id="rId21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0" name="Grupa 89"/>
          <p:cNvGrpSpPr/>
          <p:nvPr/>
        </p:nvGrpSpPr>
        <p:grpSpPr>
          <a:xfrm>
            <a:off x="7185249" y="3717032"/>
            <a:ext cx="203200" cy="165100"/>
            <a:chOff x="6978703" y="193675"/>
            <a:chExt cx="203200" cy="203200"/>
          </a:xfrm>
        </p:grpSpPr>
        <p:sp>
          <p:nvSpPr>
            <p:cNvPr id="91" name="Oval 128"/>
            <p:cNvSpPr/>
            <p:nvPr>
              <p:custDataLst>
                <p:tags r:id="rId18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Arc 1"/>
            <p:cNvSpPr/>
            <p:nvPr>
              <p:custDataLst>
                <p:tags r:id="rId19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02" name="Grupa 101"/>
          <p:cNvGrpSpPr/>
          <p:nvPr/>
        </p:nvGrpSpPr>
        <p:grpSpPr>
          <a:xfrm>
            <a:off x="7198072" y="4833156"/>
            <a:ext cx="203200" cy="165100"/>
            <a:chOff x="6978703" y="193675"/>
            <a:chExt cx="203200" cy="203200"/>
          </a:xfrm>
        </p:grpSpPr>
        <p:sp>
          <p:nvSpPr>
            <p:cNvPr id="103" name="Oval 128"/>
            <p:cNvSpPr/>
            <p:nvPr>
              <p:custDataLst>
                <p:tags r:id="rId16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Arc 1"/>
            <p:cNvSpPr/>
            <p:nvPr>
              <p:custDataLst>
                <p:tags r:id="rId17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05" name="Grupa 104"/>
          <p:cNvGrpSpPr/>
          <p:nvPr/>
        </p:nvGrpSpPr>
        <p:grpSpPr>
          <a:xfrm>
            <a:off x="7198072" y="5604160"/>
            <a:ext cx="203200" cy="165100"/>
            <a:chOff x="5457056" y="70487"/>
            <a:chExt cx="203200" cy="203200"/>
          </a:xfrm>
        </p:grpSpPr>
        <p:sp>
          <p:nvSpPr>
            <p:cNvPr id="106" name="Oval 128"/>
            <p:cNvSpPr/>
            <p:nvPr>
              <p:custDataLst>
                <p:tags r:id="rId14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Arc 136"/>
            <p:cNvSpPr/>
            <p:nvPr>
              <p:custDataLst>
                <p:tags r:id="rId15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08" name="Grupa 107"/>
          <p:cNvGrpSpPr/>
          <p:nvPr/>
        </p:nvGrpSpPr>
        <p:grpSpPr>
          <a:xfrm>
            <a:off x="7198072" y="5301208"/>
            <a:ext cx="203200" cy="165100"/>
            <a:chOff x="5457056" y="70487"/>
            <a:chExt cx="203200" cy="203200"/>
          </a:xfrm>
        </p:grpSpPr>
        <p:sp>
          <p:nvSpPr>
            <p:cNvPr id="109" name="Oval 128"/>
            <p:cNvSpPr/>
            <p:nvPr>
              <p:custDataLst>
                <p:tags r:id="rId12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Arc 136"/>
            <p:cNvSpPr/>
            <p:nvPr>
              <p:custDataLst>
                <p:tags r:id="rId13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12" name="Grupa 111"/>
          <p:cNvGrpSpPr/>
          <p:nvPr/>
        </p:nvGrpSpPr>
        <p:grpSpPr>
          <a:xfrm>
            <a:off x="7198072" y="5064100"/>
            <a:ext cx="203200" cy="165100"/>
            <a:chOff x="5457056" y="70487"/>
            <a:chExt cx="203200" cy="203200"/>
          </a:xfrm>
        </p:grpSpPr>
        <p:sp>
          <p:nvSpPr>
            <p:cNvPr id="114" name="Oval 128"/>
            <p:cNvSpPr/>
            <p:nvPr>
              <p:custDataLst>
                <p:tags r:id="rId10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Arc 136"/>
            <p:cNvSpPr/>
            <p:nvPr>
              <p:custDataLst>
                <p:tags r:id="rId11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17" name="Grupa 116"/>
          <p:cNvGrpSpPr/>
          <p:nvPr/>
        </p:nvGrpSpPr>
        <p:grpSpPr>
          <a:xfrm>
            <a:off x="7198072" y="4306598"/>
            <a:ext cx="203200" cy="165100"/>
            <a:chOff x="5457056" y="70487"/>
            <a:chExt cx="203200" cy="203200"/>
          </a:xfrm>
        </p:grpSpPr>
        <p:sp>
          <p:nvSpPr>
            <p:cNvPr id="118" name="Oval 128"/>
            <p:cNvSpPr/>
            <p:nvPr>
              <p:custDataLst>
                <p:tags r:id="rId8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Arc 136"/>
            <p:cNvSpPr/>
            <p:nvPr>
              <p:custDataLst>
                <p:tags r:id="rId9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21" name="Grupa 120"/>
          <p:cNvGrpSpPr/>
          <p:nvPr/>
        </p:nvGrpSpPr>
        <p:grpSpPr>
          <a:xfrm>
            <a:off x="7185249" y="2924944"/>
            <a:ext cx="203200" cy="165100"/>
            <a:chOff x="6112059" y="193675"/>
            <a:chExt cx="203200" cy="203200"/>
          </a:xfrm>
        </p:grpSpPr>
        <p:sp>
          <p:nvSpPr>
            <p:cNvPr id="122" name="Oval 128"/>
            <p:cNvSpPr/>
            <p:nvPr>
              <p:custDataLst>
                <p:tags r:id="rId7"/>
              </p:custDataLst>
            </p:nvPr>
          </p:nvSpPr>
          <p:spPr bwMode="gray">
            <a:xfrm>
              <a:off x="6112059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Arc 110"/>
            <p:cNvSpPr/>
            <p:nvPr/>
          </p:nvSpPr>
          <p:spPr bwMode="gray">
            <a:xfrm>
              <a:off x="6112059" y="193675"/>
              <a:ext cx="203200" cy="2032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26" name="Grupa 125"/>
          <p:cNvGrpSpPr/>
          <p:nvPr/>
        </p:nvGrpSpPr>
        <p:grpSpPr>
          <a:xfrm>
            <a:off x="7185249" y="4024485"/>
            <a:ext cx="203200" cy="165100"/>
            <a:chOff x="6112059" y="193675"/>
            <a:chExt cx="203200" cy="203200"/>
          </a:xfrm>
        </p:grpSpPr>
        <p:sp>
          <p:nvSpPr>
            <p:cNvPr id="127" name="Oval 128"/>
            <p:cNvSpPr/>
            <p:nvPr>
              <p:custDataLst>
                <p:tags r:id="rId6"/>
              </p:custDataLst>
            </p:nvPr>
          </p:nvSpPr>
          <p:spPr bwMode="gray">
            <a:xfrm>
              <a:off x="6112059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Arc 110"/>
            <p:cNvSpPr/>
            <p:nvPr/>
          </p:nvSpPr>
          <p:spPr bwMode="gray">
            <a:xfrm>
              <a:off x="6112059" y="193675"/>
              <a:ext cx="203200" cy="2032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sp>
        <p:nvSpPr>
          <p:cNvPr id="120" name="Oval 119"/>
          <p:cNvSpPr/>
          <p:nvPr/>
        </p:nvSpPr>
        <p:spPr bwMode="auto">
          <a:xfrm>
            <a:off x="8141012" y="2444809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24" name="Oval 115"/>
          <p:cNvSpPr/>
          <p:nvPr/>
        </p:nvSpPr>
        <p:spPr bwMode="gray">
          <a:xfrm>
            <a:off x="7198072" y="4556597"/>
            <a:ext cx="203200" cy="1651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5" name="clipart_tick"/>
          <p:cNvSpPr>
            <a:spLocks noChangeAspect="1"/>
          </p:cNvSpPr>
          <p:nvPr/>
        </p:nvSpPr>
        <p:spPr bwMode="gray">
          <a:xfrm>
            <a:off x="8174859" y="4556598"/>
            <a:ext cx="182272" cy="159623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84419" tIns="84419" rIns="84419" bIns="84419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3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0" name="Rectangle 149"/>
          <p:cNvSpPr/>
          <p:nvPr/>
        </p:nvSpPr>
        <p:spPr>
          <a:xfrm>
            <a:off x="1677988" y="6496294"/>
            <a:ext cx="17956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Wczesne prace koncepcyjne</a:t>
            </a:r>
          </a:p>
        </p:txBody>
      </p:sp>
      <p:sp>
        <p:nvSpPr>
          <p:cNvPr id="151" name="Rectangle 150"/>
          <p:cNvSpPr/>
          <p:nvPr/>
        </p:nvSpPr>
        <p:spPr>
          <a:xfrm>
            <a:off x="641350" y="6489944"/>
            <a:ext cx="816249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152" name="Oval 151"/>
          <p:cNvSpPr/>
          <p:nvPr/>
        </p:nvSpPr>
        <p:spPr bwMode="gray">
          <a:xfrm>
            <a:off x="3516313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3" name="Arc 152"/>
          <p:cNvSpPr/>
          <p:nvPr/>
        </p:nvSpPr>
        <p:spPr bwMode="gray">
          <a:xfrm>
            <a:off x="3516313" y="6513158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3724275" y="6485547"/>
            <a:ext cx="21691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awansowane prace koncepcyjne</a:t>
            </a:r>
          </a:p>
        </p:txBody>
      </p:sp>
      <p:sp>
        <p:nvSpPr>
          <p:cNvPr id="155" name="Oval 154"/>
          <p:cNvSpPr/>
          <p:nvPr/>
        </p:nvSpPr>
        <p:spPr bwMode="gray">
          <a:xfrm>
            <a:off x="5904097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6" name="Arc 155"/>
          <p:cNvSpPr/>
          <p:nvPr/>
        </p:nvSpPr>
        <p:spPr bwMode="gray">
          <a:xfrm>
            <a:off x="5904097" y="6513158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6112059" y="6485547"/>
            <a:ext cx="181171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158" name="Oval 157"/>
          <p:cNvSpPr/>
          <p:nvPr/>
        </p:nvSpPr>
        <p:spPr bwMode="gray">
          <a:xfrm>
            <a:off x="7889193" y="6513158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Rectangle 158"/>
          <p:cNvSpPr/>
          <p:nvPr/>
        </p:nvSpPr>
        <p:spPr>
          <a:xfrm>
            <a:off x="8106681" y="6485547"/>
            <a:ext cx="862737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160" name="Oval 159"/>
          <p:cNvSpPr/>
          <p:nvPr>
            <p:custDataLst>
              <p:tags r:id="rId3"/>
            </p:custDataLst>
          </p:nvPr>
        </p:nvSpPr>
        <p:spPr bwMode="gray">
          <a:xfrm>
            <a:off x="433388" y="65182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1" name="Oval 160"/>
          <p:cNvSpPr/>
          <p:nvPr>
            <p:custDataLst>
              <p:tags r:id="rId4"/>
            </p:custDataLst>
          </p:nvPr>
        </p:nvSpPr>
        <p:spPr bwMode="gray">
          <a:xfrm>
            <a:off x="1447800" y="652462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2" name="Arc 161"/>
          <p:cNvSpPr/>
          <p:nvPr>
            <p:custDataLst>
              <p:tags r:id="rId5"/>
            </p:custDataLst>
          </p:nvPr>
        </p:nvSpPr>
        <p:spPr bwMode="gray">
          <a:xfrm>
            <a:off x="1447800" y="6524625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171383" cy="831850"/>
          </a:xfrm>
        </p:spPr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Cele strumienia </a:t>
            </a:r>
            <a:r>
              <a:rPr lang="pl-PL" altLang="pl-PL" dirty="0">
                <a:solidFill>
                  <a:srgbClr val="DC6E00"/>
                </a:solidFill>
              </a:rPr>
              <a:t>e-Transport/e-Przepływy Towarów </a:t>
            </a:r>
            <a:br>
              <a:rPr lang="pl-PL" altLang="pl-PL" dirty="0">
                <a:solidFill>
                  <a:srgbClr val="DC6E00"/>
                </a:solidFill>
              </a:rPr>
            </a:br>
            <a:r>
              <a:rPr lang="pl-PL" altLang="pl-PL" dirty="0">
                <a:solidFill>
                  <a:srgbClr val="0166B6"/>
                </a:solidFill>
              </a:rPr>
              <a:t>są aktualnie realizowane w ramach </a:t>
            </a:r>
            <a:r>
              <a:rPr lang="pl-PL" altLang="pl-PL" dirty="0" smtClean="0">
                <a:solidFill>
                  <a:srgbClr val="DC6E00"/>
                </a:solidFill>
              </a:rPr>
              <a:t>21 projektów</a:t>
            </a:r>
            <a:endParaRPr lang="pl-PL" altLang="pl-PL" dirty="0">
              <a:solidFill>
                <a:srgbClr val="0166B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4132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644229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4076" name="think-cell Slide" r:id="rId22" imgW="0" imgH="0" progId="TCLayout.ActiveDocument.1">
                  <p:embed/>
                </p:oleObj>
              </mc:Choice>
              <mc:Fallback>
                <p:oleObj name="think-cell Slide" r:id="rId22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644229"/>
                        <a:ext cx="1587" cy="12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5" name="Table 74"/>
          <p:cNvGraphicFramePr>
            <a:graphicFrameLocks noGrp="1"/>
          </p:cNvGraphicFramePr>
          <p:nvPr>
            <p:extLst/>
          </p:nvPr>
        </p:nvGraphicFramePr>
        <p:xfrm>
          <a:off x="457200" y="1673805"/>
          <a:ext cx="8991600" cy="27580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8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94612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954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26430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8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drożenie zintegrowanego systemu informacji z infrastruktury odbioru przesyłek przez klienta (w tym </a:t>
                      </a:r>
                      <a:r>
                        <a:rPr lang="pl-PL" sz="9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czkomatów</a:t>
                      </a:r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i skrzynek pocztowych) narodowego operatora pocztowego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9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9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drożenie ogólnodostępnej architektury sieci sensorycznej i systemu agregacji danych o przepływach towarów - 1000 stacji bazowych połączonych z bazą EPCIS w Wielkopolsce 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0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37872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20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drożenie usług otwartego rejestru infrastruktury kolejowej i zarządców obiektów - platforma transakcyjna dla przedsiębiorców – zarządców obiektów i świadczących usługi zarządzania infrastrukturą kolejową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8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21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większenie skuteczności i efektywności systemu automatycznego nadzoru nad ruchem drogowym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3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22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ozwój usług cyfrowych systemu teleinformatycznego wsparcia procesów Biura Kontroli Opłaty Elektronicznej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l-PL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.2021</a:t>
                      </a:r>
                      <a:endParaRPr lang="pl-PL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1545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l-PL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.23</a:t>
                      </a:r>
                      <a:endParaRPr lang="pl-PL" sz="9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tworzenie Krajowego Rejestru Elektronicznego Przedsiębiorców Transportu Drogowego (KREPTD) 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9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24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ozwój cyfrowego systemu Centralnej Ewidencji Naruszeń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1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25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ystem Zarządzania Przestrzenią Parkingową dla Pojazdów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kończony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26 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andardowy rejestr pojazdów kolejowych (</a:t>
                      </a:r>
                      <a:r>
                        <a:rPr lang="pl-PL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NVR</a:t>
                      </a:r>
                      <a:r>
                        <a:rPr lang="pl-PL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 </a:t>
                      </a:r>
                      <a:endParaRPr lang="pl-PL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8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48" name="Oval 119"/>
          <p:cNvSpPr/>
          <p:nvPr/>
        </p:nvSpPr>
        <p:spPr bwMode="auto">
          <a:xfrm>
            <a:off x="8141012" y="3077961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9" name="Oval 119"/>
          <p:cNvSpPr/>
          <p:nvPr/>
        </p:nvSpPr>
        <p:spPr bwMode="auto">
          <a:xfrm>
            <a:off x="8141012" y="3327961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Oval 119"/>
          <p:cNvSpPr/>
          <p:nvPr/>
        </p:nvSpPr>
        <p:spPr bwMode="auto">
          <a:xfrm>
            <a:off x="8141012" y="3604520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2" name="Oval 119"/>
          <p:cNvSpPr/>
          <p:nvPr/>
        </p:nvSpPr>
        <p:spPr bwMode="auto">
          <a:xfrm>
            <a:off x="8141012" y="3796013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3" name="Oval 119"/>
          <p:cNvSpPr/>
          <p:nvPr/>
        </p:nvSpPr>
        <p:spPr bwMode="auto">
          <a:xfrm>
            <a:off x="8141012" y="4248091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grpSp>
        <p:nvGrpSpPr>
          <p:cNvPr id="64" name="Grupa 63"/>
          <p:cNvGrpSpPr/>
          <p:nvPr/>
        </p:nvGrpSpPr>
        <p:grpSpPr>
          <a:xfrm>
            <a:off x="7270080" y="4248091"/>
            <a:ext cx="203200" cy="165100"/>
            <a:chOff x="6112059" y="193675"/>
            <a:chExt cx="203200" cy="203200"/>
          </a:xfrm>
        </p:grpSpPr>
        <p:sp>
          <p:nvSpPr>
            <p:cNvPr id="65" name="Oval 128"/>
            <p:cNvSpPr/>
            <p:nvPr>
              <p:custDataLst>
                <p:tags r:id="rId19"/>
              </p:custDataLst>
            </p:nvPr>
          </p:nvSpPr>
          <p:spPr bwMode="gray">
            <a:xfrm>
              <a:off x="6112059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Arc 110"/>
            <p:cNvSpPr/>
            <p:nvPr/>
          </p:nvSpPr>
          <p:spPr bwMode="gray">
            <a:xfrm>
              <a:off x="6112059" y="193675"/>
              <a:ext cx="203200" cy="2032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0" name="Grupa 69"/>
          <p:cNvGrpSpPr/>
          <p:nvPr/>
        </p:nvGrpSpPr>
        <p:grpSpPr>
          <a:xfrm>
            <a:off x="7270080" y="3790459"/>
            <a:ext cx="203200" cy="165100"/>
            <a:chOff x="6112059" y="193675"/>
            <a:chExt cx="203200" cy="203200"/>
          </a:xfrm>
        </p:grpSpPr>
        <p:sp>
          <p:nvSpPr>
            <p:cNvPr id="71" name="Oval 128"/>
            <p:cNvSpPr/>
            <p:nvPr>
              <p:custDataLst>
                <p:tags r:id="rId18"/>
              </p:custDataLst>
            </p:nvPr>
          </p:nvSpPr>
          <p:spPr bwMode="gray">
            <a:xfrm>
              <a:off x="6112059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Arc 110"/>
            <p:cNvSpPr/>
            <p:nvPr/>
          </p:nvSpPr>
          <p:spPr bwMode="gray">
            <a:xfrm>
              <a:off x="6112059" y="193675"/>
              <a:ext cx="203200" cy="2032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3" name="Grupa 72"/>
          <p:cNvGrpSpPr/>
          <p:nvPr/>
        </p:nvGrpSpPr>
        <p:grpSpPr>
          <a:xfrm>
            <a:off x="7270080" y="3582563"/>
            <a:ext cx="203200" cy="165100"/>
            <a:chOff x="6978703" y="193675"/>
            <a:chExt cx="203200" cy="203200"/>
          </a:xfrm>
        </p:grpSpPr>
        <p:sp>
          <p:nvSpPr>
            <p:cNvPr id="74" name="Oval 128"/>
            <p:cNvSpPr/>
            <p:nvPr>
              <p:custDataLst>
                <p:tags r:id="rId16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Arc 1"/>
            <p:cNvSpPr/>
            <p:nvPr>
              <p:custDataLst>
                <p:tags r:id="rId17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7" name="Grupa 76"/>
          <p:cNvGrpSpPr/>
          <p:nvPr/>
        </p:nvGrpSpPr>
        <p:grpSpPr>
          <a:xfrm>
            <a:off x="7257257" y="2375883"/>
            <a:ext cx="203200" cy="165100"/>
            <a:chOff x="6978703" y="193675"/>
            <a:chExt cx="203200" cy="203200"/>
          </a:xfrm>
        </p:grpSpPr>
        <p:sp>
          <p:nvSpPr>
            <p:cNvPr id="78" name="Oval 128"/>
            <p:cNvSpPr/>
            <p:nvPr>
              <p:custDataLst>
                <p:tags r:id="rId14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Arc 1"/>
            <p:cNvSpPr/>
            <p:nvPr>
              <p:custDataLst>
                <p:tags r:id="rId15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0" name="Grupa 79"/>
          <p:cNvGrpSpPr/>
          <p:nvPr/>
        </p:nvGrpSpPr>
        <p:grpSpPr>
          <a:xfrm>
            <a:off x="7270080" y="2060848"/>
            <a:ext cx="203200" cy="165100"/>
            <a:chOff x="5457056" y="70487"/>
            <a:chExt cx="203200" cy="203200"/>
          </a:xfrm>
        </p:grpSpPr>
        <p:sp>
          <p:nvSpPr>
            <p:cNvPr id="81" name="Oval 128"/>
            <p:cNvSpPr/>
            <p:nvPr>
              <p:custDataLst>
                <p:tags r:id="rId12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Arc 136"/>
            <p:cNvSpPr/>
            <p:nvPr>
              <p:custDataLst>
                <p:tags r:id="rId13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7" name="Grupa 86"/>
          <p:cNvGrpSpPr/>
          <p:nvPr/>
        </p:nvGrpSpPr>
        <p:grpSpPr>
          <a:xfrm>
            <a:off x="7257257" y="2708920"/>
            <a:ext cx="203200" cy="165100"/>
            <a:chOff x="5457056" y="70487"/>
            <a:chExt cx="203200" cy="203200"/>
          </a:xfrm>
        </p:grpSpPr>
        <p:sp>
          <p:nvSpPr>
            <p:cNvPr id="88" name="Oval 128"/>
            <p:cNvSpPr/>
            <p:nvPr>
              <p:custDataLst>
                <p:tags r:id="rId10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Arc 136"/>
            <p:cNvSpPr/>
            <p:nvPr>
              <p:custDataLst>
                <p:tags r:id="rId11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0" name="Grupa 89"/>
          <p:cNvGrpSpPr/>
          <p:nvPr/>
        </p:nvGrpSpPr>
        <p:grpSpPr>
          <a:xfrm>
            <a:off x="7257257" y="2996952"/>
            <a:ext cx="203200" cy="165100"/>
            <a:chOff x="5457056" y="70487"/>
            <a:chExt cx="203200" cy="203200"/>
          </a:xfrm>
        </p:grpSpPr>
        <p:sp>
          <p:nvSpPr>
            <p:cNvPr id="91" name="Oval 128"/>
            <p:cNvSpPr/>
            <p:nvPr>
              <p:custDataLst>
                <p:tags r:id="rId8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Arc 136"/>
            <p:cNvSpPr/>
            <p:nvPr>
              <p:custDataLst>
                <p:tags r:id="rId9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9" name="Grupa 98"/>
          <p:cNvGrpSpPr/>
          <p:nvPr/>
        </p:nvGrpSpPr>
        <p:grpSpPr>
          <a:xfrm>
            <a:off x="7270080" y="3284984"/>
            <a:ext cx="203200" cy="165100"/>
            <a:chOff x="5457056" y="70487"/>
            <a:chExt cx="203200" cy="203200"/>
          </a:xfrm>
        </p:grpSpPr>
        <p:sp>
          <p:nvSpPr>
            <p:cNvPr id="100" name="Oval 128"/>
            <p:cNvSpPr/>
            <p:nvPr>
              <p:custDataLst>
                <p:tags r:id="rId6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Arc 136"/>
            <p:cNvSpPr/>
            <p:nvPr>
              <p:custDataLst>
                <p:tags r:id="rId7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2" name="clipart_tick"/>
          <p:cNvSpPr>
            <a:spLocks noChangeAspect="1"/>
          </p:cNvSpPr>
          <p:nvPr/>
        </p:nvSpPr>
        <p:spPr bwMode="gray">
          <a:xfrm>
            <a:off x="8174859" y="4011326"/>
            <a:ext cx="182272" cy="159623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84419" tIns="84419" rIns="84419" bIns="84419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3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4" name="Oval 115"/>
          <p:cNvSpPr/>
          <p:nvPr/>
        </p:nvSpPr>
        <p:spPr bwMode="gray">
          <a:xfrm>
            <a:off x="7270080" y="4005064"/>
            <a:ext cx="203200" cy="1651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1" name="Oval 123"/>
          <p:cNvSpPr/>
          <p:nvPr/>
        </p:nvSpPr>
        <p:spPr bwMode="auto">
          <a:xfrm>
            <a:off x="8135180" y="2099325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62" name="Oval 123"/>
          <p:cNvSpPr/>
          <p:nvPr/>
        </p:nvSpPr>
        <p:spPr bwMode="auto">
          <a:xfrm>
            <a:off x="8135178" y="2410389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63" name="Oval 123"/>
          <p:cNvSpPr/>
          <p:nvPr/>
        </p:nvSpPr>
        <p:spPr bwMode="auto">
          <a:xfrm>
            <a:off x="8135177" y="2737342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677988" y="6496294"/>
            <a:ext cx="17956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Wczesne prace koncepcyjne</a:t>
            </a:r>
          </a:p>
        </p:txBody>
      </p:sp>
      <p:sp>
        <p:nvSpPr>
          <p:cNvPr id="68" name="Rectangle 67"/>
          <p:cNvSpPr/>
          <p:nvPr/>
        </p:nvSpPr>
        <p:spPr>
          <a:xfrm>
            <a:off x="641350" y="6489944"/>
            <a:ext cx="816249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69" name="Oval 68"/>
          <p:cNvSpPr/>
          <p:nvPr/>
        </p:nvSpPr>
        <p:spPr bwMode="gray">
          <a:xfrm>
            <a:off x="3516313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3" name="Arc 82"/>
          <p:cNvSpPr/>
          <p:nvPr/>
        </p:nvSpPr>
        <p:spPr bwMode="gray">
          <a:xfrm>
            <a:off x="3516313" y="6513158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3724275" y="6485547"/>
            <a:ext cx="21691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awansowane prace koncepcyjne</a:t>
            </a:r>
          </a:p>
        </p:txBody>
      </p:sp>
      <p:sp>
        <p:nvSpPr>
          <p:cNvPr id="86" name="Oval 85"/>
          <p:cNvSpPr/>
          <p:nvPr/>
        </p:nvSpPr>
        <p:spPr bwMode="gray">
          <a:xfrm>
            <a:off x="5904097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4" name="Arc 113"/>
          <p:cNvSpPr/>
          <p:nvPr/>
        </p:nvSpPr>
        <p:spPr bwMode="gray">
          <a:xfrm>
            <a:off x="5904097" y="6513158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6112059" y="6485547"/>
            <a:ext cx="181171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117" name="Oval 116"/>
          <p:cNvSpPr/>
          <p:nvPr/>
        </p:nvSpPr>
        <p:spPr bwMode="gray">
          <a:xfrm>
            <a:off x="7889193" y="6513158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8106681" y="6485547"/>
            <a:ext cx="862737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119" name="Oval 118"/>
          <p:cNvSpPr/>
          <p:nvPr>
            <p:custDataLst>
              <p:tags r:id="rId3"/>
            </p:custDataLst>
          </p:nvPr>
        </p:nvSpPr>
        <p:spPr bwMode="gray">
          <a:xfrm>
            <a:off x="433388" y="65182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0" name="Oval 119"/>
          <p:cNvSpPr/>
          <p:nvPr>
            <p:custDataLst>
              <p:tags r:id="rId4"/>
            </p:custDataLst>
          </p:nvPr>
        </p:nvSpPr>
        <p:spPr bwMode="gray">
          <a:xfrm>
            <a:off x="1447800" y="652462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1" name="Arc 120"/>
          <p:cNvSpPr/>
          <p:nvPr>
            <p:custDataLst>
              <p:tags r:id="rId5"/>
            </p:custDataLst>
          </p:nvPr>
        </p:nvSpPr>
        <p:spPr bwMode="gray">
          <a:xfrm>
            <a:off x="1447800" y="6524625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Cele strumienia </a:t>
            </a:r>
            <a:r>
              <a:rPr lang="pl-PL" altLang="pl-PL" dirty="0">
                <a:solidFill>
                  <a:srgbClr val="DC6E00"/>
                </a:solidFill>
              </a:rPr>
              <a:t>e-Transport/e-Przepływy Towarów </a:t>
            </a:r>
            <a:br>
              <a:rPr lang="pl-PL" altLang="pl-PL" dirty="0">
                <a:solidFill>
                  <a:srgbClr val="DC6E00"/>
                </a:solidFill>
              </a:rPr>
            </a:br>
            <a:r>
              <a:rPr lang="pl-PL" altLang="pl-PL" dirty="0">
                <a:solidFill>
                  <a:srgbClr val="0166B6"/>
                </a:solidFill>
              </a:rPr>
              <a:t>są aktualnie realizowane w ramach </a:t>
            </a:r>
            <a:r>
              <a:rPr lang="pl-PL" altLang="pl-PL" dirty="0">
                <a:solidFill>
                  <a:srgbClr val="DC6E00"/>
                </a:solidFill>
              </a:rPr>
              <a:t>21 projektó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88083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8659012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12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642938"/>
            <a:ext cx="171979" cy="171979"/>
          </a:xfrm>
          <a:prstGeom prst="rect">
            <a:avLst/>
          </a:prstGeom>
          <a:solidFill>
            <a:srgbClr val="FFFC71">
              <a:alpha val="80000"/>
            </a:srgb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217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zy biznesowi: Paweł Widawski (ZBP), </a:t>
            </a:r>
            <a:b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artosz Ciołkowski (Mastercard)</a:t>
            </a:r>
          </a:p>
          <a:p>
            <a:pPr marL="1362033" lvl="3" indent="-199490">
              <a:spcAft>
                <a:spcPts val="217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zy wdrożeniowi: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ominik Wójcicki (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PiT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pl-PL" sz="1517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 smtClean="0">
                <a:solidFill>
                  <a:srgbClr val="0166B6"/>
                </a:solidFill>
              </a:rPr>
              <a:t>Strumień</a:t>
            </a:r>
            <a:r>
              <a:rPr lang="pl-PL" altLang="pl-PL" dirty="0" smtClean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Zwiększenie Obrotu Bezgotówkowego </a:t>
            </a:r>
            <a:r>
              <a:rPr lang="pl-PL" altLang="pl-PL" dirty="0" smtClean="0">
                <a:solidFill>
                  <a:srgbClr val="0166B6"/>
                </a:solidFill>
              </a:rPr>
              <a:t>wdraża inicjatywy ograniczające obieg gotówki w gospodarce </a:t>
            </a:r>
          </a:p>
        </p:txBody>
      </p:sp>
      <p:sp>
        <p:nvSpPr>
          <p:cNvPr id="52" name="FlowTriangle"/>
          <p:cNvSpPr>
            <a:spLocks noChangeArrowheads="1"/>
          </p:cNvSpPr>
          <p:nvPr/>
        </p:nvSpPr>
        <p:spPr bwMode="gray">
          <a:xfrm rot="5400000">
            <a:off x="4122663" y="4273847"/>
            <a:ext cx="1738709" cy="234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84419" tIns="42210" rIns="84419" bIns="42210" anchor="ctr"/>
          <a:lstStyle/>
          <a:p>
            <a:pPr algn="ctr">
              <a:defRPr/>
            </a:pPr>
            <a:endParaRPr lang="pl-PL" sz="13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22" name="Text Placeholder 2"/>
          <p:cNvSpPr txBox="1">
            <a:spLocks/>
          </p:cNvSpPr>
          <p:nvPr/>
        </p:nvSpPr>
        <p:spPr bwMode="auto">
          <a:xfrm>
            <a:off x="5202371" y="3380703"/>
            <a:ext cx="4287440" cy="2711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500" tIns="11700" rIns="19500" bIns="11700">
            <a:spAutoFit/>
          </a:bodyPr>
          <a:lstStyle/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Utworzenie </a:t>
            </a:r>
            <a:r>
              <a:rPr lang="pl-PL" altLang="pl-PL" sz="1300" b="1" dirty="0">
                <a:latin typeface="Calibri" pitchFamily="34" charset="0"/>
              </a:rPr>
              <a:t>Programu Wsparcia Obrotu </a:t>
            </a:r>
            <a:br>
              <a:rPr lang="pl-PL" altLang="pl-PL" sz="1300" b="1" dirty="0">
                <a:latin typeface="Calibri" pitchFamily="34" charset="0"/>
              </a:rPr>
            </a:br>
            <a:r>
              <a:rPr lang="pl-PL" altLang="pl-PL" sz="1300" b="1" dirty="0">
                <a:latin typeface="Calibri" pitchFamily="34" charset="0"/>
              </a:rPr>
              <a:t>Bezgotówkowego  </a:t>
            </a:r>
            <a:r>
              <a:rPr lang="pl-PL" altLang="pl-PL" sz="1300" dirty="0">
                <a:latin typeface="Calibri" pitchFamily="34" charset="0"/>
              </a:rPr>
              <a:t>wraz z mechanizmem jego finansowania</a:t>
            </a:r>
            <a:endParaRPr lang="pl-PL" altLang="pl-PL" sz="1300" b="1" dirty="0">
              <a:latin typeface="Calibri" pitchFamily="34" charset="0"/>
            </a:endParaRP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Umożliwienie</a:t>
            </a:r>
            <a:r>
              <a:rPr lang="pl-PL" altLang="pl-PL" sz="1300" b="1" dirty="0">
                <a:latin typeface="Calibri" pitchFamily="34" charset="0"/>
              </a:rPr>
              <a:t> bezgotówkowych płatności mandatów</a:t>
            </a: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Wprowadzenie</a:t>
            </a:r>
            <a:r>
              <a:rPr lang="pl-PL" altLang="pl-PL" sz="1300" b="1" dirty="0">
                <a:latin typeface="Calibri" pitchFamily="34" charset="0"/>
              </a:rPr>
              <a:t> bezgotówkowej formy wypłaty wynagrodzenia jako formy preferowanej</a:t>
            </a: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Upowszechnienie</a:t>
            </a:r>
            <a:r>
              <a:rPr lang="pl-PL" altLang="pl-PL" sz="1300" b="1" dirty="0">
                <a:latin typeface="Calibri" pitchFamily="34" charset="0"/>
              </a:rPr>
              <a:t> płatności bezgotówkowych w gospodarce (</a:t>
            </a:r>
            <a:r>
              <a:rPr lang="pl-PL" altLang="pl-PL" sz="1300" b="1" dirty="0" err="1">
                <a:latin typeface="Calibri" pitchFamily="34" charset="0"/>
              </a:rPr>
              <a:t>POS</a:t>
            </a:r>
            <a:r>
              <a:rPr lang="pl-PL" altLang="pl-PL" sz="1300" b="1" dirty="0">
                <a:latin typeface="Calibri" pitchFamily="34" charset="0"/>
              </a:rPr>
              <a:t> BIZ)</a:t>
            </a: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b="1" dirty="0">
              <a:latin typeface="Calibri" pitchFamily="34" charset="0"/>
            </a:endParaRPr>
          </a:p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b="1" dirty="0">
              <a:latin typeface="Calibri" pitchFamily="34" charset="0"/>
            </a:endParaRPr>
          </a:p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b="1" dirty="0">
              <a:latin typeface="Calibri" pitchFamily="34" charset="0"/>
            </a:endParaRP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357156" y="3008171"/>
            <a:ext cx="2702708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6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862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Rozszerzenie Programu Wsparcia Obrotu Bezgotówkowego dla </a:t>
            </a: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jednostek publicznych</a:t>
            </a: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Wprowadzenie ustawowego </a:t>
            </a: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obowiązku akceptacji zapłaty instrumentem elektronicznym</a:t>
            </a:r>
          </a:p>
        </p:txBody>
      </p:sp>
      <p:grpSp>
        <p:nvGrpSpPr>
          <p:cNvPr id="19" name="Group 32"/>
          <p:cNvGrpSpPr>
            <a:grpSpLocks/>
          </p:cNvGrpSpPr>
          <p:nvPr/>
        </p:nvGrpSpPr>
        <p:grpSpPr bwMode="auto">
          <a:xfrm>
            <a:off x="686197" y="1937940"/>
            <a:ext cx="702000" cy="702000"/>
            <a:chOff x="908050" y="1485901"/>
            <a:chExt cx="1100655" cy="929506"/>
          </a:xfrm>
        </p:grpSpPr>
        <p:sp>
          <p:nvSpPr>
            <p:cNvPr id="20" name="Freeform 61"/>
            <p:cNvSpPr>
              <a:spLocks/>
            </p:cNvSpPr>
            <p:nvPr/>
          </p:nvSpPr>
          <p:spPr bwMode="auto">
            <a:xfrm>
              <a:off x="1183678" y="2096125"/>
              <a:ext cx="726139" cy="319282"/>
            </a:xfrm>
            <a:custGeom>
              <a:avLst/>
              <a:gdLst>
                <a:gd name="T0" fmla="*/ 2147483647 w 2677"/>
                <a:gd name="T1" fmla="*/ 2147483647 h 1179"/>
                <a:gd name="T2" fmla="*/ 2147483647 w 2677"/>
                <a:gd name="T3" fmla="*/ 2147483647 h 1179"/>
                <a:gd name="T4" fmla="*/ 2147483647 w 2677"/>
                <a:gd name="T5" fmla="*/ 2147483647 h 1179"/>
                <a:gd name="T6" fmla="*/ 2147483647 w 2677"/>
                <a:gd name="T7" fmla="*/ 2147483647 h 1179"/>
                <a:gd name="T8" fmla="*/ 2147483647 w 2677"/>
                <a:gd name="T9" fmla="*/ 2147483647 h 1179"/>
                <a:gd name="T10" fmla="*/ 2147483647 w 2677"/>
                <a:gd name="T11" fmla="*/ 2147483647 h 1179"/>
                <a:gd name="T12" fmla="*/ 2147483647 w 2677"/>
                <a:gd name="T13" fmla="*/ 2147483647 h 1179"/>
                <a:gd name="T14" fmla="*/ 2147483647 w 2677"/>
                <a:gd name="T15" fmla="*/ 2147483647 h 1179"/>
                <a:gd name="T16" fmla="*/ 2147483647 w 2677"/>
                <a:gd name="T17" fmla="*/ 2147483647 h 1179"/>
                <a:gd name="T18" fmla="*/ 2147483647 w 2677"/>
                <a:gd name="T19" fmla="*/ 2147483647 h 1179"/>
                <a:gd name="T20" fmla="*/ 2147483647 w 2677"/>
                <a:gd name="T21" fmla="*/ 2147483647 h 1179"/>
                <a:gd name="T22" fmla="*/ 2147483647 w 2677"/>
                <a:gd name="T23" fmla="*/ 2147483647 h 1179"/>
                <a:gd name="T24" fmla="*/ 2147483647 w 2677"/>
                <a:gd name="T25" fmla="*/ 2147483647 h 1179"/>
                <a:gd name="T26" fmla="*/ 2147483647 w 2677"/>
                <a:gd name="T27" fmla="*/ 2147483647 h 1179"/>
                <a:gd name="T28" fmla="*/ 2147483647 w 2677"/>
                <a:gd name="T29" fmla="*/ 2147483647 h 1179"/>
                <a:gd name="T30" fmla="*/ 2147483647 w 2677"/>
                <a:gd name="T31" fmla="*/ 2147483647 h 1179"/>
                <a:gd name="T32" fmla="*/ 2147483647 w 2677"/>
                <a:gd name="T33" fmla="*/ 2147483647 h 1179"/>
                <a:gd name="T34" fmla="*/ 2147483647 w 2677"/>
                <a:gd name="T35" fmla="*/ 2147483647 h 1179"/>
                <a:gd name="T36" fmla="*/ 2147483647 w 2677"/>
                <a:gd name="T37" fmla="*/ 2147483647 h 1179"/>
                <a:gd name="T38" fmla="*/ 2147483647 w 2677"/>
                <a:gd name="T39" fmla="*/ 2147483647 h 1179"/>
                <a:gd name="T40" fmla="*/ 2147483647 w 2677"/>
                <a:gd name="T41" fmla="*/ 2147483647 h 1179"/>
                <a:gd name="T42" fmla="*/ 2147483647 w 2677"/>
                <a:gd name="T43" fmla="*/ 2147483647 h 1179"/>
                <a:gd name="T44" fmla="*/ 2147483647 w 2677"/>
                <a:gd name="T45" fmla="*/ 2147483647 h 1179"/>
                <a:gd name="T46" fmla="*/ 2147483647 w 2677"/>
                <a:gd name="T47" fmla="*/ 2147483647 h 1179"/>
                <a:gd name="T48" fmla="*/ 2147483647 w 2677"/>
                <a:gd name="T49" fmla="*/ 2147483647 h 1179"/>
                <a:gd name="T50" fmla="*/ 2147483647 w 2677"/>
                <a:gd name="T51" fmla="*/ 2147483647 h 1179"/>
                <a:gd name="T52" fmla="*/ 2147483647 w 2677"/>
                <a:gd name="T53" fmla="*/ 2147483647 h 1179"/>
                <a:gd name="T54" fmla="*/ 2147483647 w 2677"/>
                <a:gd name="T55" fmla="*/ 2147483647 h 1179"/>
                <a:gd name="T56" fmla="*/ 2147483647 w 2677"/>
                <a:gd name="T57" fmla="*/ 2147483647 h 1179"/>
                <a:gd name="T58" fmla="*/ 2147483647 w 2677"/>
                <a:gd name="T59" fmla="*/ 2147483647 h 1179"/>
                <a:gd name="T60" fmla="*/ 2147483647 w 2677"/>
                <a:gd name="T61" fmla="*/ 2147483647 h 1179"/>
                <a:gd name="T62" fmla="*/ 2147483647 w 2677"/>
                <a:gd name="T63" fmla="*/ 2147483647 h 1179"/>
                <a:gd name="T64" fmla="*/ 2147483647 w 2677"/>
                <a:gd name="T65" fmla="*/ 2147483647 h 1179"/>
                <a:gd name="T66" fmla="*/ 2147483647 w 2677"/>
                <a:gd name="T67" fmla="*/ 2147483647 h 1179"/>
                <a:gd name="T68" fmla="*/ 2147483647 w 2677"/>
                <a:gd name="T69" fmla="*/ 2147483647 h 1179"/>
                <a:gd name="T70" fmla="*/ 2147483647 w 2677"/>
                <a:gd name="T71" fmla="*/ 2147483647 h 1179"/>
                <a:gd name="T72" fmla="*/ 2147483647 w 2677"/>
                <a:gd name="T73" fmla="*/ 2147483647 h 1179"/>
                <a:gd name="T74" fmla="*/ 2147483647 w 2677"/>
                <a:gd name="T75" fmla="*/ 2147483647 h 1179"/>
                <a:gd name="T76" fmla="*/ 2147483647 w 2677"/>
                <a:gd name="T77" fmla="*/ 2147483647 h 1179"/>
                <a:gd name="T78" fmla="*/ 2147483647 w 2677"/>
                <a:gd name="T79" fmla="*/ 2147483647 h 1179"/>
                <a:gd name="T80" fmla="*/ 2147483647 w 2677"/>
                <a:gd name="T81" fmla="*/ 2147483647 h 1179"/>
                <a:gd name="T82" fmla="*/ 2147483647 w 2677"/>
                <a:gd name="T83" fmla="*/ 2147483647 h 1179"/>
                <a:gd name="T84" fmla="*/ 0 w 2677"/>
                <a:gd name="T85" fmla="*/ 2147483647 h 1179"/>
                <a:gd name="T86" fmla="*/ 2147483647 w 2677"/>
                <a:gd name="T87" fmla="*/ 2147483647 h 1179"/>
                <a:gd name="T88" fmla="*/ 2147483647 w 2677"/>
                <a:gd name="T89" fmla="*/ 2147483647 h 1179"/>
                <a:gd name="T90" fmla="*/ 2147483647 w 2677"/>
                <a:gd name="T91" fmla="*/ 2147483647 h 1179"/>
                <a:gd name="T92" fmla="*/ 2147483647 w 2677"/>
                <a:gd name="T93" fmla="*/ 2147483647 h 1179"/>
                <a:gd name="T94" fmla="*/ 2147483647 w 2677"/>
                <a:gd name="T95" fmla="*/ 2147483647 h 1179"/>
                <a:gd name="T96" fmla="*/ 2147483647 w 2677"/>
                <a:gd name="T97" fmla="*/ 2147483647 h 1179"/>
                <a:gd name="T98" fmla="*/ 2147483647 w 2677"/>
                <a:gd name="T99" fmla="*/ 2147483647 h 1179"/>
                <a:gd name="T100" fmla="*/ 2147483647 w 2677"/>
                <a:gd name="T101" fmla="*/ 2147483647 h 1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677"/>
                <a:gd name="T154" fmla="*/ 0 h 1179"/>
                <a:gd name="T155" fmla="*/ 2677 w 2677"/>
                <a:gd name="T156" fmla="*/ 1179 h 117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677" h="1179">
                  <a:moveTo>
                    <a:pt x="722" y="0"/>
                  </a:moveTo>
                  <a:lnTo>
                    <a:pt x="760" y="2"/>
                  </a:lnTo>
                  <a:lnTo>
                    <a:pt x="802" y="8"/>
                  </a:lnTo>
                  <a:lnTo>
                    <a:pt x="846" y="15"/>
                  </a:lnTo>
                  <a:lnTo>
                    <a:pt x="895" y="24"/>
                  </a:lnTo>
                  <a:lnTo>
                    <a:pt x="945" y="35"/>
                  </a:lnTo>
                  <a:lnTo>
                    <a:pt x="998" y="47"/>
                  </a:lnTo>
                  <a:lnTo>
                    <a:pt x="1051" y="61"/>
                  </a:lnTo>
                  <a:lnTo>
                    <a:pt x="1106" y="75"/>
                  </a:lnTo>
                  <a:lnTo>
                    <a:pt x="1162" y="91"/>
                  </a:lnTo>
                  <a:lnTo>
                    <a:pt x="1217" y="106"/>
                  </a:lnTo>
                  <a:lnTo>
                    <a:pt x="1272" y="122"/>
                  </a:lnTo>
                  <a:lnTo>
                    <a:pt x="1326" y="139"/>
                  </a:lnTo>
                  <a:lnTo>
                    <a:pt x="1378" y="156"/>
                  </a:lnTo>
                  <a:lnTo>
                    <a:pt x="1429" y="171"/>
                  </a:lnTo>
                  <a:lnTo>
                    <a:pt x="1477" y="187"/>
                  </a:lnTo>
                  <a:lnTo>
                    <a:pt x="1522" y="202"/>
                  </a:lnTo>
                  <a:lnTo>
                    <a:pt x="1563" y="215"/>
                  </a:lnTo>
                  <a:lnTo>
                    <a:pt x="1601" y="226"/>
                  </a:lnTo>
                  <a:lnTo>
                    <a:pt x="1635" y="238"/>
                  </a:lnTo>
                  <a:lnTo>
                    <a:pt x="1663" y="245"/>
                  </a:lnTo>
                  <a:lnTo>
                    <a:pt x="1686" y="252"/>
                  </a:lnTo>
                  <a:lnTo>
                    <a:pt x="1704" y="257"/>
                  </a:lnTo>
                  <a:lnTo>
                    <a:pt x="1722" y="263"/>
                  </a:lnTo>
                  <a:lnTo>
                    <a:pt x="1739" y="273"/>
                  </a:lnTo>
                  <a:lnTo>
                    <a:pt x="1754" y="286"/>
                  </a:lnTo>
                  <a:lnTo>
                    <a:pt x="1766" y="300"/>
                  </a:lnTo>
                  <a:lnTo>
                    <a:pt x="1776" y="317"/>
                  </a:lnTo>
                  <a:lnTo>
                    <a:pt x="1782" y="335"/>
                  </a:lnTo>
                  <a:lnTo>
                    <a:pt x="1786" y="355"/>
                  </a:lnTo>
                  <a:lnTo>
                    <a:pt x="1786" y="375"/>
                  </a:lnTo>
                  <a:lnTo>
                    <a:pt x="1783" y="395"/>
                  </a:lnTo>
                  <a:lnTo>
                    <a:pt x="1775" y="417"/>
                  </a:lnTo>
                  <a:lnTo>
                    <a:pt x="1765" y="437"/>
                  </a:lnTo>
                  <a:lnTo>
                    <a:pt x="1749" y="456"/>
                  </a:lnTo>
                  <a:lnTo>
                    <a:pt x="1730" y="474"/>
                  </a:lnTo>
                  <a:lnTo>
                    <a:pt x="1705" y="490"/>
                  </a:lnTo>
                  <a:lnTo>
                    <a:pt x="1676" y="503"/>
                  </a:lnTo>
                  <a:lnTo>
                    <a:pt x="1643" y="514"/>
                  </a:lnTo>
                  <a:lnTo>
                    <a:pt x="1606" y="522"/>
                  </a:lnTo>
                  <a:lnTo>
                    <a:pt x="1567" y="528"/>
                  </a:lnTo>
                  <a:lnTo>
                    <a:pt x="1526" y="531"/>
                  </a:lnTo>
                  <a:lnTo>
                    <a:pt x="1485" y="532"/>
                  </a:lnTo>
                  <a:lnTo>
                    <a:pt x="1442" y="531"/>
                  </a:lnTo>
                  <a:lnTo>
                    <a:pt x="1400" y="529"/>
                  </a:lnTo>
                  <a:lnTo>
                    <a:pt x="1356" y="525"/>
                  </a:lnTo>
                  <a:lnTo>
                    <a:pt x="1315" y="520"/>
                  </a:lnTo>
                  <a:lnTo>
                    <a:pt x="1273" y="514"/>
                  </a:lnTo>
                  <a:lnTo>
                    <a:pt x="1232" y="508"/>
                  </a:lnTo>
                  <a:lnTo>
                    <a:pt x="1194" y="501"/>
                  </a:lnTo>
                  <a:lnTo>
                    <a:pt x="1157" y="494"/>
                  </a:lnTo>
                  <a:lnTo>
                    <a:pt x="1122" y="488"/>
                  </a:lnTo>
                  <a:lnTo>
                    <a:pt x="1089" y="482"/>
                  </a:lnTo>
                  <a:lnTo>
                    <a:pt x="1060" y="477"/>
                  </a:lnTo>
                  <a:lnTo>
                    <a:pt x="1035" y="473"/>
                  </a:lnTo>
                  <a:lnTo>
                    <a:pt x="1013" y="469"/>
                  </a:lnTo>
                  <a:lnTo>
                    <a:pt x="995" y="468"/>
                  </a:lnTo>
                  <a:lnTo>
                    <a:pt x="983" y="468"/>
                  </a:lnTo>
                  <a:lnTo>
                    <a:pt x="974" y="472"/>
                  </a:lnTo>
                  <a:lnTo>
                    <a:pt x="972" y="476"/>
                  </a:lnTo>
                  <a:lnTo>
                    <a:pt x="975" y="494"/>
                  </a:lnTo>
                  <a:lnTo>
                    <a:pt x="986" y="511"/>
                  </a:lnTo>
                  <a:lnTo>
                    <a:pt x="1004" y="528"/>
                  </a:lnTo>
                  <a:lnTo>
                    <a:pt x="1029" y="544"/>
                  </a:lnTo>
                  <a:lnTo>
                    <a:pt x="1058" y="560"/>
                  </a:lnTo>
                  <a:lnTo>
                    <a:pt x="1093" y="575"/>
                  </a:lnTo>
                  <a:lnTo>
                    <a:pt x="1131" y="588"/>
                  </a:lnTo>
                  <a:lnTo>
                    <a:pt x="1173" y="602"/>
                  </a:lnTo>
                  <a:lnTo>
                    <a:pt x="1218" y="613"/>
                  </a:lnTo>
                  <a:lnTo>
                    <a:pt x="1266" y="623"/>
                  </a:lnTo>
                  <a:lnTo>
                    <a:pt x="1316" y="632"/>
                  </a:lnTo>
                  <a:lnTo>
                    <a:pt x="1366" y="640"/>
                  </a:lnTo>
                  <a:lnTo>
                    <a:pt x="1418" y="646"/>
                  </a:lnTo>
                  <a:lnTo>
                    <a:pt x="1468" y="651"/>
                  </a:lnTo>
                  <a:lnTo>
                    <a:pt x="1518" y="653"/>
                  </a:lnTo>
                  <a:lnTo>
                    <a:pt x="1568" y="654"/>
                  </a:lnTo>
                  <a:lnTo>
                    <a:pt x="1616" y="653"/>
                  </a:lnTo>
                  <a:lnTo>
                    <a:pt x="1661" y="651"/>
                  </a:lnTo>
                  <a:lnTo>
                    <a:pt x="1702" y="645"/>
                  </a:lnTo>
                  <a:lnTo>
                    <a:pt x="1809" y="626"/>
                  </a:lnTo>
                  <a:lnTo>
                    <a:pt x="1915" y="602"/>
                  </a:lnTo>
                  <a:lnTo>
                    <a:pt x="2019" y="572"/>
                  </a:lnTo>
                  <a:lnTo>
                    <a:pt x="2120" y="539"/>
                  </a:lnTo>
                  <a:lnTo>
                    <a:pt x="2218" y="503"/>
                  </a:lnTo>
                  <a:lnTo>
                    <a:pt x="2311" y="464"/>
                  </a:lnTo>
                  <a:lnTo>
                    <a:pt x="2399" y="422"/>
                  </a:lnTo>
                  <a:lnTo>
                    <a:pt x="2481" y="380"/>
                  </a:lnTo>
                  <a:lnTo>
                    <a:pt x="2511" y="366"/>
                  </a:lnTo>
                  <a:lnTo>
                    <a:pt x="2540" y="361"/>
                  </a:lnTo>
                  <a:lnTo>
                    <a:pt x="2567" y="360"/>
                  </a:lnTo>
                  <a:lnTo>
                    <a:pt x="2593" y="365"/>
                  </a:lnTo>
                  <a:lnTo>
                    <a:pt x="2616" y="375"/>
                  </a:lnTo>
                  <a:lnTo>
                    <a:pt x="2636" y="390"/>
                  </a:lnTo>
                  <a:lnTo>
                    <a:pt x="2653" y="409"/>
                  </a:lnTo>
                  <a:lnTo>
                    <a:pt x="2665" y="432"/>
                  </a:lnTo>
                  <a:lnTo>
                    <a:pt x="2673" y="458"/>
                  </a:lnTo>
                  <a:lnTo>
                    <a:pt x="2677" y="486"/>
                  </a:lnTo>
                  <a:lnTo>
                    <a:pt x="2673" y="518"/>
                  </a:lnTo>
                  <a:lnTo>
                    <a:pt x="2663" y="550"/>
                  </a:lnTo>
                  <a:lnTo>
                    <a:pt x="2647" y="584"/>
                  </a:lnTo>
                  <a:lnTo>
                    <a:pt x="2623" y="618"/>
                  </a:lnTo>
                  <a:lnTo>
                    <a:pt x="2591" y="653"/>
                  </a:lnTo>
                  <a:lnTo>
                    <a:pt x="2573" y="669"/>
                  </a:lnTo>
                  <a:lnTo>
                    <a:pt x="2550" y="688"/>
                  </a:lnTo>
                  <a:lnTo>
                    <a:pt x="2523" y="708"/>
                  </a:lnTo>
                  <a:lnTo>
                    <a:pt x="2491" y="730"/>
                  </a:lnTo>
                  <a:lnTo>
                    <a:pt x="2455" y="755"/>
                  </a:lnTo>
                  <a:lnTo>
                    <a:pt x="2416" y="781"/>
                  </a:lnTo>
                  <a:lnTo>
                    <a:pt x="2374" y="809"/>
                  </a:lnTo>
                  <a:lnTo>
                    <a:pt x="2329" y="836"/>
                  </a:lnTo>
                  <a:lnTo>
                    <a:pt x="2282" y="865"/>
                  </a:lnTo>
                  <a:lnTo>
                    <a:pt x="2234" y="894"/>
                  </a:lnTo>
                  <a:lnTo>
                    <a:pt x="2185" y="923"/>
                  </a:lnTo>
                  <a:lnTo>
                    <a:pt x="2134" y="951"/>
                  </a:lnTo>
                  <a:lnTo>
                    <a:pt x="2083" y="979"/>
                  </a:lnTo>
                  <a:lnTo>
                    <a:pt x="2033" y="1007"/>
                  </a:lnTo>
                  <a:lnTo>
                    <a:pt x="1982" y="1034"/>
                  </a:lnTo>
                  <a:lnTo>
                    <a:pt x="1934" y="1059"/>
                  </a:lnTo>
                  <a:lnTo>
                    <a:pt x="1886" y="1082"/>
                  </a:lnTo>
                  <a:lnTo>
                    <a:pt x="1840" y="1103"/>
                  </a:lnTo>
                  <a:lnTo>
                    <a:pt x="1796" y="1124"/>
                  </a:lnTo>
                  <a:lnTo>
                    <a:pt x="1756" y="1140"/>
                  </a:lnTo>
                  <a:lnTo>
                    <a:pt x="1718" y="1155"/>
                  </a:lnTo>
                  <a:lnTo>
                    <a:pt x="1684" y="1166"/>
                  </a:lnTo>
                  <a:lnTo>
                    <a:pt x="1654" y="1174"/>
                  </a:lnTo>
                  <a:lnTo>
                    <a:pt x="1634" y="1177"/>
                  </a:lnTo>
                  <a:lnTo>
                    <a:pt x="1608" y="1179"/>
                  </a:lnTo>
                  <a:lnTo>
                    <a:pt x="1576" y="1179"/>
                  </a:lnTo>
                  <a:lnTo>
                    <a:pt x="1537" y="1176"/>
                  </a:lnTo>
                  <a:lnTo>
                    <a:pt x="1495" y="1173"/>
                  </a:lnTo>
                  <a:lnTo>
                    <a:pt x="1447" y="1168"/>
                  </a:lnTo>
                  <a:lnTo>
                    <a:pt x="1395" y="1163"/>
                  </a:lnTo>
                  <a:lnTo>
                    <a:pt x="1340" y="1156"/>
                  </a:lnTo>
                  <a:lnTo>
                    <a:pt x="1282" y="1149"/>
                  </a:lnTo>
                  <a:lnTo>
                    <a:pt x="1222" y="1140"/>
                  </a:lnTo>
                  <a:lnTo>
                    <a:pt x="1159" y="1132"/>
                  </a:lnTo>
                  <a:lnTo>
                    <a:pt x="1094" y="1123"/>
                  </a:lnTo>
                  <a:lnTo>
                    <a:pt x="1029" y="1112"/>
                  </a:lnTo>
                  <a:lnTo>
                    <a:pt x="964" y="1102"/>
                  </a:lnTo>
                  <a:lnTo>
                    <a:pt x="898" y="1091"/>
                  </a:lnTo>
                  <a:lnTo>
                    <a:pt x="833" y="1081"/>
                  </a:lnTo>
                  <a:lnTo>
                    <a:pt x="769" y="1070"/>
                  </a:lnTo>
                  <a:lnTo>
                    <a:pt x="708" y="1059"/>
                  </a:lnTo>
                  <a:lnTo>
                    <a:pt x="647" y="1049"/>
                  </a:lnTo>
                  <a:lnTo>
                    <a:pt x="590" y="1039"/>
                  </a:lnTo>
                  <a:lnTo>
                    <a:pt x="536" y="1028"/>
                  </a:lnTo>
                  <a:lnTo>
                    <a:pt x="486" y="1019"/>
                  </a:lnTo>
                  <a:lnTo>
                    <a:pt x="440" y="1011"/>
                  </a:lnTo>
                  <a:lnTo>
                    <a:pt x="398" y="1003"/>
                  </a:lnTo>
                  <a:lnTo>
                    <a:pt x="363" y="996"/>
                  </a:lnTo>
                  <a:lnTo>
                    <a:pt x="332" y="990"/>
                  </a:lnTo>
                  <a:lnTo>
                    <a:pt x="309" y="986"/>
                  </a:lnTo>
                  <a:lnTo>
                    <a:pt x="292" y="981"/>
                  </a:lnTo>
                  <a:lnTo>
                    <a:pt x="262" y="978"/>
                  </a:lnTo>
                  <a:lnTo>
                    <a:pt x="230" y="981"/>
                  </a:lnTo>
                  <a:lnTo>
                    <a:pt x="200" y="989"/>
                  </a:lnTo>
                  <a:lnTo>
                    <a:pt x="171" y="1002"/>
                  </a:lnTo>
                  <a:lnTo>
                    <a:pt x="142" y="1017"/>
                  </a:lnTo>
                  <a:lnTo>
                    <a:pt x="114" y="1035"/>
                  </a:lnTo>
                  <a:lnTo>
                    <a:pt x="87" y="1054"/>
                  </a:lnTo>
                  <a:lnTo>
                    <a:pt x="64" y="1074"/>
                  </a:lnTo>
                  <a:lnTo>
                    <a:pt x="49" y="1084"/>
                  </a:lnTo>
                  <a:lnTo>
                    <a:pt x="37" y="1090"/>
                  </a:lnTo>
                  <a:lnTo>
                    <a:pt x="28" y="1091"/>
                  </a:lnTo>
                  <a:lnTo>
                    <a:pt x="20" y="1089"/>
                  </a:lnTo>
                  <a:lnTo>
                    <a:pt x="13" y="1084"/>
                  </a:lnTo>
                  <a:lnTo>
                    <a:pt x="9" y="1079"/>
                  </a:lnTo>
                  <a:lnTo>
                    <a:pt x="5" y="1071"/>
                  </a:lnTo>
                  <a:lnTo>
                    <a:pt x="2" y="1064"/>
                  </a:lnTo>
                  <a:lnTo>
                    <a:pt x="1" y="1058"/>
                  </a:lnTo>
                  <a:lnTo>
                    <a:pt x="1" y="1052"/>
                  </a:lnTo>
                  <a:lnTo>
                    <a:pt x="0" y="1050"/>
                  </a:lnTo>
                  <a:lnTo>
                    <a:pt x="4" y="990"/>
                  </a:lnTo>
                  <a:lnTo>
                    <a:pt x="9" y="924"/>
                  </a:lnTo>
                  <a:lnTo>
                    <a:pt x="13" y="854"/>
                  </a:lnTo>
                  <a:lnTo>
                    <a:pt x="18" y="777"/>
                  </a:lnTo>
                  <a:lnTo>
                    <a:pt x="23" y="700"/>
                  </a:lnTo>
                  <a:lnTo>
                    <a:pt x="28" y="621"/>
                  </a:lnTo>
                  <a:lnTo>
                    <a:pt x="33" y="540"/>
                  </a:lnTo>
                  <a:lnTo>
                    <a:pt x="38" y="462"/>
                  </a:lnTo>
                  <a:lnTo>
                    <a:pt x="43" y="384"/>
                  </a:lnTo>
                  <a:lnTo>
                    <a:pt x="48" y="311"/>
                  </a:lnTo>
                  <a:lnTo>
                    <a:pt x="52" y="242"/>
                  </a:lnTo>
                  <a:lnTo>
                    <a:pt x="56" y="179"/>
                  </a:lnTo>
                  <a:lnTo>
                    <a:pt x="60" y="123"/>
                  </a:lnTo>
                  <a:lnTo>
                    <a:pt x="62" y="108"/>
                  </a:lnTo>
                  <a:lnTo>
                    <a:pt x="67" y="95"/>
                  </a:lnTo>
                  <a:lnTo>
                    <a:pt x="75" y="86"/>
                  </a:lnTo>
                  <a:lnTo>
                    <a:pt x="85" y="81"/>
                  </a:lnTo>
                  <a:lnTo>
                    <a:pt x="97" y="76"/>
                  </a:lnTo>
                  <a:lnTo>
                    <a:pt x="111" y="73"/>
                  </a:lnTo>
                  <a:lnTo>
                    <a:pt x="127" y="71"/>
                  </a:lnTo>
                  <a:lnTo>
                    <a:pt x="145" y="67"/>
                  </a:lnTo>
                  <a:lnTo>
                    <a:pt x="182" y="62"/>
                  </a:lnTo>
                  <a:lnTo>
                    <a:pt x="224" y="55"/>
                  </a:lnTo>
                  <a:lnTo>
                    <a:pt x="269" y="48"/>
                  </a:lnTo>
                  <a:lnTo>
                    <a:pt x="317" y="40"/>
                  </a:lnTo>
                  <a:lnTo>
                    <a:pt x="366" y="34"/>
                  </a:lnTo>
                  <a:lnTo>
                    <a:pt x="417" y="27"/>
                  </a:lnTo>
                  <a:lnTo>
                    <a:pt x="468" y="20"/>
                  </a:lnTo>
                  <a:lnTo>
                    <a:pt x="518" y="15"/>
                  </a:lnTo>
                  <a:lnTo>
                    <a:pt x="566" y="9"/>
                  </a:lnTo>
                  <a:lnTo>
                    <a:pt x="611" y="4"/>
                  </a:lnTo>
                  <a:lnTo>
                    <a:pt x="653" y="2"/>
                  </a:lnTo>
                  <a:lnTo>
                    <a:pt x="691" y="0"/>
                  </a:lnTo>
                  <a:lnTo>
                    <a:pt x="72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1" name="Freeform 62"/>
            <p:cNvSpPr>
              <a:spLocks noEditPoints="1"/>
            </p:cNvSpPr>
            <p:nvPr/>
          </p:nvSpPr>
          <p:spPr bwMode="auto">
            <a:xfrm>
              <a:off x="908050" y="2103727"/>
              <a:ext cx="230007" cy="296478"/>
            </a:xfrm>
            <a:custGeom>
              <a:avLst/>
              <a:gdLst>
                <a:gd name="T0" fmla="*/ 2147483647 w 849"/>
                <a:gd name="T1" fmla="*/ 2147483647 h 1095"/>
                <a:gd name="T2" fmla="*/ 2147483647 w 849"/>
                <a:gd name="T3" fmla="*/ 2147483647 h 1095"/>
                <a:gd name="T4" fmla="*/ 2147483647 w 849"/>
                <a:gd name="T5" fmla="*/ 2147483647 h 1095"/>
                <a:gd name="T6" fmla="*/ 2147483647 w 849"/>
                <a:gd name="T7" fmla="*/ 2147483647 h 1095"/>
                <a:gd name="T8" fmla="*/ 2147483647 w 849"/>
                <a:gd name="T9" fmla="*/ 2147483647 h 1095"/>
                <a:gd name="T10" fmla="*/ 2147483647 w 849"/>
                <a:gd name="T11" fmla="*/ 2147483647 h 1095"/>
                <a:gd name="T12" fmla="*/ 2147483647 w 849"/>
                <a:gd name="T13" fmla="*/ 2147483647 h 1095"/>
                <a:gd name="T14" fmla="*/ 2147483647 w 849"/>
                <a:gd name="T15" fmla="*/ 2147483647 h 1095"/>
                <a:gd name="T16" fmla="*/ 2147483647 w 849"/>
                <a:gd name="T17" fmla="*/ 2147483647 h 1095"/>
                <a:gd name="T18" fmla="*/ 2147483647 w 849"/>
                <a:gd name="T19" fmla="*/ 2147483647 h 1095"/>
                <a:gd name="T20" fmla="*/ 2147483647 w 849"/>
                <a:gd name="T21" fmla="*/ 2147483647 h 1095"/>
                <a:gd name="T22" fmla="*/ 2147483647 w 849"/>
                <a:gd name="T23" fmla="*/ 2147483647 h 1095"/>
                <a:gd name="T24" fmla="*/ 2147483647 w 849"/>
                <a:gd name="T25" fmla="*/ 2147483647 h 1095"/>
                <a:gd name="T26" fmla="*/ 2147483647 w 849"/>
                <a:gd name="T27" fmla="*/ 2147483647 h 1095"/>
                <a:gd name="T28" fmla="*/ 2147483647 w 849"/>
                <a:gd name="T29" fmla="*/ 2147483647 h 1095"/>
                <a:gd name="T30" fmla="*/ 2147483647 w 849"/>
                <a:gd name="T31" fmla="*/ 2147483647 h 1095"/>
                <a:gd name="T32" fmla="*/ 2147483647 w 849"/>
                <a:gd name="T33" fmla="*/ 2147483647 h 1095"/>
                <a:gd name="T34" fmla="*/ 2147483647 w 849"/>
                <a:gd name="T35" fmla="*/ 2147483647 h 1095"/>
                <a:gd name="T36" fmla="*/ 2147483647 w 849"/>
                <a:gd name="T37" fmla="*/ 2147483647 h 1095"/>
                <a:gd name="T38" fmla="*/ 2147483647 w 849"/>
                <a:gd name="T39" fmla="*/ 2147483647 h 1095"/>
                <a:gd name="T40" fmla="*/ 2147483647 w 849"/>
                <a:gd name="T41" fmla="*/ 2147483647 h 1095"/>
                <a:gd name="T42" fmla="*/ 2147483647 w 849"/>
                <a:gd name="T43" fmla="*/ 2147483647 h 1095"/>
                <a:gd name="T44" fmla="*/ 2147483647 w 849"/>
                <a:gd name="T45" fmla="*/ 2147483647 h 1095"/>
                <a:gd name="T46" fmla="*/ 2147483647 w 849"/>
                <a:gd name="T47" fmla="*/ 2147483647 h 1095"/>
                <a:gd name="T48" fmla="*/ 2147483647 w 849"/>
                <a:gd name="T49" fmla="*/ 2147483647 h 1095"/>
                <a:gd name="T50" fmla="*/ 2147483647 w 849"/>
                <a:gd name="T51" fmla="*/ 2147483647 h 1095"/>
                <a:gd name="T52" fmla="*/ 2147483647 w 849"/>
                <a:gd name="T53" fmla="*/ 2147483647 h 1095"/>
                <a:gd name="T54" fmla="*/ 2147483647 w 849"/>
                <a:gd name="T55" fmla="*/ 2147483647 h 1095"/>
                <a:gd name="T56" fmla="*/ 2147483647 w 849"/>
                <a:gd name="T57" fmla="*/ 2147483647 h 1095"/>
                <a:gd name="T58" fmla="*/ 2147483647 w 849"/>
                <a:gd name="T59" fmla="*/ 2147483647 h 1095"/>
                <a:gd name="T60" fmla="*/ 2147483647 w 849"/>
                <a:gd name="T61" fmla="*/ 2147483647 h 1095"/>
                <a:gd name="T62" fmla="*/ 2147483647 w 849"/>
                <a:gd name="T63" fmla="*/ 2147483647 h 1095"/>
                <a:gd name="T64" fmla="*/ 2147483647 w 849"/>
                <a:gd name="T65" fmla="*/ 2147483647 h 1095"/>
                <a:gd name="T66" fmla="*/ 2147483647 w 849"/>
                <a:gd name="T67" fmla="*/ 0 h 1095"/>
                <a:gd name="T68" fmla="*/ 2147483647 w 849"/>
                <a:gd name="T69" fmla="*/ 2147483647 h 1095"/>
                <a:gd name="T70" fmla="*/ 2147483647 w 849"/>
                <a:gd name="T71" fmla="*/ 2147483647 h 1095"/>
                <a:gd name="T72" fmla="*/ 2147483647 w 849"/>
                <a:gd name="T73" fmla="*/ 2147483647 h 1095"/>
                <a:gd name="T74" fmla="*/ 2147483647 w 849"/>
                <a:gd name="T75" fmla="*/ 2147483647 h 1095"/>
                <a:gd name="T76" fmla="*/ 2147483647 w 849"/>
                <a:gd name="T77" fmla="*/ 2147483647 h 1095"/>
                <a:gd name="T78" fmla="*/ 2147483647 w 849"/>
                <a:gd name="T79" fmla="*/ 2147483647 h 1095"/>
                <a:gd name="T80" fmla="*/ 2147483647 w 849"/>
                <a:gd name="T81" fmla="*/ 2147483647 h 1095"/>
                <a:gd name="T82" fmla="*/ 2147483647 w 849"/>
                <a:gd name="T83" fmla="*/ 2147483647 h 1095"/>
                <a:gd name="T84" fmla="*/ 2147483647 w 849"/>
                <a:gd name="T85" fmla="*/ 2147483647 h 1095"/>
                <a:gd name="T86" fmla="*/ 2147483647 w 849"/>
                <a:gd name="T87" fmla="*/ 2147483647 h 1095"/>
                <a:gd name="T88" fmla="*/ 2147483647 w 849"/>
                <a:gd name="T89" fmla="*/ 2147483647 h 1095"/>
                <a:gd name="T90" fmla="*/ 2147483647 w 849"/>
                <a:gd name="T91" fmla="*/ 2147483647 h 1095"/>
                <a:gd name="T92" fmla="*/ 2147483647 w 849"/>
                <a:gd name="T93" fmla="*/ 2147483647 h 1095"/>
                <a:gd name="T94" fmla="*/ 2147483647 w 849"/>
                <a:gd name="T95" fmla="*/ 2147483647 h 1095"/>
                <a:gd name="T96" fmla="*/ 2147483647 w 849"/>
                <a:gd name="T97" fmla="*/ 2147483647 h 1095"/>
                <a:gd name="T98" fmla="*/ 2147483647 w 849"/>
                <a:gd name="T99" fmla="*/ 2147483647 h 1095"/>
                <a:gd name="T100" fmla="*/ 2147483647 w 849"/>
                <a:gd name="T101" fmla="*/ 2147483647 h 1095"/>
                <a:gd name="T102" fmla="*/ 2147483647 w 849"/>
                <a:gd name="T103" fmla="*/ 2147483647 h 1095"/>
                <a:gd name="T104" fmla="*/ 2147483647 w 849"/>
                <a:gd name="T105" fmla="*/ 2147483647 h 1095"/>
                <a:gd name="T106" fmla="*/ 0 w 849"/>
                <a:gd name="T107" fmla="*/ 2147483647 h 1095"/>
                <a:gd name="T108" fmla="*/ 2147483647 w 849"/>
                <a:gd name="T109" fmla="*/ 2147483647 h 1095"/>
                <a:gd name="T110" fmla="*/ 2147483647 w 849"/>
                <a:gd name="T111" fmla="*/ 2147483647 h 1095"/>
                <a:gd name="T112" fmla="*/ 2147483647 w 849"/>
                <a:gd name="T113" fmla="*/ 2147483647 h 1095"/>
                <a:gd name="T114" fmla="*/ 2147483647 w 849"/>
                <a:gd name="T115" fmla="*/ 2147483647 h 1095"/>
                <a:gd name="T116" fmla="*/ 2147483647 w 849"/>
                <a:gd name="T117" fmla="*/ 2147483647 h 1095"/>
                <a:gd name="T118" fmla="*/ 2147483647 w 849"/>
                <a:gd name="T119" fmla="*/ 2147483647 h 1095"/>
                <a:gd name="T120" fmla="*/ 2147483647 w 849"/>
                <a:gd name="T121" fmla="*/ 2147483647 h 1095"/>
                <a:gd name="T122" fmla="*/ 2147483647 w 849"/>
                <a:gd name="T123" fmla="*/ 0 h 109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849"/>
                <a:gd name="T187" fmla="*/ 0 h 1095"/>
                <a:gd name="T188" fmla="*/ 849 w 849"/>
                <a:gd name="T189" fmla="*/ 1095 h 109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849" h="1095">
                  <a:moveTo>
                    <a:pt x="440" y="656"/>
                  </a:moveTo>
                  <a:lnTo>
                    <a:pt x="408" y="659"/>
                  </a:lnTo>
                  <a:lnTo>
                    <a:pt x="379" y="668"/>
                  </a:lnTo>
                  <a:lnTo>
                    <a:pt x="352" y="683"/>
                  </a:lnTo>
                  <a:lnTo>
                    <a:pt x="328" y="702"/>
                  </a:lnTo>
                  <a:lnTo>
                    <a:pt x="309" y="725"/>
                  </a:lnTo>
                  <a:lnTo>
                    <a:pt x="295" y="751"/>
                  </a:lnTo>
                  <a:lnTo>
                    <a:pt x="286" y="781"/>
                  </a:lnTo>
                  <a:lnTo>
                    <a:pt x="282" y="812"/>
                  </a:lnTo>
                  <a:lnTo>
                    <a:pt x="286" y="844"/>
                  </a:lnTo>
                  <a:lnTo>
                    <a:pt x="295" y="874"/>
                  </a:lnTo>
                  <a:lnTo>
                    <a:pt x="309" y="901"/>
                  </a:lnTo>
                  <a:lnTo>
                    <a:pt x="328" y="924"/>
                  </a:lnTo>
                  <a:lnTo>
                    <a:pt x="352" y="944"/>
                  </a:lnTo>
                  <a:lnTo>
                    <a:pt x="379" y="958"/>
                  </a:lnTo>
                  <a:lnTo>
                    <a:pt x="408" y="967"/>
                  </a:lnTo>
                  <a:lnTo>
                    <a:pt x="440" y="970"/>
                  </a:lnTo>
                  <a:lnTo>
                    <a:pt x="472" y="967"/>
                  </a:lnTo>
                  <a:lnTo>
                    <a:pt x="501" y="958"/>
                  </a:lnTo>
                  <a:lnTo>
                    <a:pt x="528" y="944"/>
                  </a:lnTo>
                  <a:lnTo>
                    <a:pt x="551" y="924"/>
                  </a:lnTo>
                  <a:lnTo>
                    <a:pt x="570" y="901"/>
                  </a:lnTo>
                  <a:lnTo>
                    <a:pt x="585" y="874"/>
                  </a:lnTo>
                  <a:lnTo>
                    <a:pt x="594" y="844"/>
                  </a:lnTo>
                  <a:lnTo>
                    <a:pt x="597" y="812"/>
                  </a:lnTo>
                  <a:lnTo>
                    <a:pt x="594" y="781"/>
                  </a:lnTo>
                  <a:lnTo>
                    <a:pt x="585" y="751"/>
                  </a:lnTo>
                  <a:lnTo>
                    <a:pt x="570" y="725"/>
                  </a:lnTo>
                  <a:lnTo>
                    <a:pt x="551" y="702"/>
                  </a:lnTo>
                  <a:lnTo>
                    <a:pt x="528" y="683"/>
                  </a:lnTo>
                  <a:lnTo>
                    <a:pt x="501" y="668"/>
                  </a:lnTo>
                  <a:lnTo>
                    <a:pt x="472" y="659"/>
                  </a:lnTo>
                  <a:lnTo>
                    <a:pt x="440" y="656"/>
                  </a:lnTo>
                  <a:close/>
                  <a:moveTo>
                    <a:pt x="206" y="0"/>
                  </a:moveTo>
                  <a:lnTo>
                    <a:pt x="775" y="28"/>
                  </a:lnTo>
                  <a:lnTo>
                    <a:pt x="796" y="33"/>
                  </a:lnTo>
                  <a:lnTo>
                    <a:pt x="814" y="42"/>
                  </a:lnTo>
                  <a:lnTo>
                    <a:pt x="830" y="55"/>
                  </a:lnTo>
                  <a:lnTo>
                    <a:pt x="841" y="72"/>
                  </a:lnTo>
                  <a:lnTo>
                    <a:pt x="848" y="91"/>
                  </a:lnTo>
                  <a:lnTo>
                    <a:pt x="849" y="112"/>
                  </a:lnTo>
                  <a:lnTo>
                    <a:pt x="780" y="1017"/>
                  </a:lnTo>
                  <a:lnTo>
                    <a:pt x="775" y="1039"/>
                  </a:lnTo>
                  <a:lnTo>
                    <a:pt x="765" y="1058"/>
                  </a:lnTo>
                  <a:lnTo>
                    <a:pt x="752" y="1073"/>
                  </a:lnTo>
                  <a:lnTo>
                    <a:pt x="735" y="1085"/>
                  </a:lnTo>
                  <a:lnTo>
                    <a:pt x="715" y="1093"/>
                  </a:lnTo>
                  <a:lnTo>
                    <a:pt x="693" y="1095"/>
                  </a:lnTo>
                  <a:lnTo>
                    <a:pt x="63" y="1095"/>
                  </a:lnTo>
                  <a:lnTo>
                    <a:pt x="43" y="1091"/>
                  </a:lnTo>
                  <a:lnTo>
                    <a:pt x="25" y="1082"/>
                  </a:lnTo>
                  <a:lnTo>
                    <a:pt x="12" y="1070"/>
                  </a:lnTo>
                  <a:lnTo>
                    <a:pt x="3" y="1053"/>
                  </a:lnTo>
                  <a:lnTo>
                    <a:pt x="0" y="1034"/>
                  </a:lnTo>
                  <a:lnTo>
                    <a:pt x="2" y="1014"/>
                  </a:lnTo>
                  <a:lnTo>
                    <a:pt x="106" y="74"/>
                  </a:lnTo>
                  <a:lnTo>
                    <a:pt x="114" y="54"/>
                  </a:lnTo>
                  <a:lnTo>
                    <a:pt x="127" y="36"/>
                  </a:lnTo>
                  <a:lnTo>
                    <a:pt x="143" y="20"/>
                  </a:lnTo>
                  <a:lnTo>
                    <a:pt x="162" y="9"/>
                  </a:lnTo>
                  <a:lnTo>
                    <a:pt x="184" y="2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grpSp>
          <p:nvGrpSpPr>
            <p:cNvPr id="22" name="Group 67"/>
            <p:cNvGrpSpPr>
              <a:grpSpLocks/>
            </p:cNvGrpSpPr>
            <p:nvPr/>
          </p:nvGrpSpPr>
          <p:grpSpPr bwMode="auto">
            <a:xfrm>
              <a:off x="1496616" y="1485901"/>
              <a:ext cx="512089" cy="532437"/>
              <a:chOff x="1137906" y="1563186"/>
              <a:chExt cx="718750" cy="748214"/>
            </a:xfrm>
          </p:grpSpPr>
          <p:grpSp>
            <p:nvGrpSpPr>
              <p:cNvPr id="23" name="Group 57"/>
              <p:cNvGrpSpPr>
                <a:grpSpLocks/>
              </p:cNvGrpSpPr>
              <p:nvPr/>
            </p:nvGrpSpPr>
            <p:grpSpPr bwMode="auto">
              <a:xfrm>
                <a:off x="1352600" y="1765725"/>
                <a:ext cx="504056" cy="349376"/>
                <a:chOff x="1587342" y="1903589"/>
                <a:chExt cx="306542" cy="212473"/>
              </a:xfrm>
            </p:grpSpPr>
            <p:sp>
              <p:nvSpPr>
                <p:cNvPr id="28" name="Freeform 10"/>
                <p:cNvSpPr>
                  <a:spLocks noEditPoints="1"/>
                </p:cNvSpPr>
                <p:nvPr/>
              </p:nvSpPr>
              <p:spPr bwMode="auto">
                <a:xfrm>
                  <a:off x="1587342" y="1978198"/>
                  <a:ext cx="306542" cy="137864"/>
                </a:xfrm>
                <a:custGeom>
                  <a:avLst/>
                  <a:gdLst>
                    <a:gd name="T0" fmla="*/ 0 w 822"/>
                    <a:gd name="T1" fmla="*/ 2147483647 h 375"/>
                    <a:gd name="T2" fmla="*/ 2147483647 w 822"/>
                    <a:gd name="T3" fmla="*/ 2147483647 h 375"/>
                    <a:gd name="T4" fmla="*/ 2147483647 w 822"/>
                    <a:gd name="T5" fmla="*/ 2147483647 h 375"/>
                    <a:gd name="T6" fmla="*/ 2147483647 w 822"/>
                    <a:gd name="T7" fmla="*/ 2147483647 h 375"/>
                    <a:gd name="T8" fmla="*/ 2147483647 w 822"/>
                    <a:gd name="T9" fmla="*/ 0 h 375"/>
                    <a:gd name="T10" fmla="*/ 0 w 822"/>
                    <a:gd name="T11" fmla="*/ 0 h 375"/>
                    <a:gd name="T12" fmla="*/ 0 w 822"/>
                    <a:gd name="T13" fmla="*/ 2147483647 h 375"/>
                    <a:gd name="T14" fmla="*/ 2147483647 w 822"/>
                    <a:gd name="T15" fmla="*/ 2147483647 h 375"/>
                    <a:gd name="T16" fmla="*/ 2147483647 w 822"/>
                    <a:gd name="T17" fmla="*/ 2147483647 h 375"/>
                    <a:gd name="T18" fmla="*/ 2147483647 w 822"/>
                    <a:gd name="T19" fmla="*/ 2147483647 h 375"/>
                    <a:gd name="T20" fmla="*/ 2147483647 w 822"/>
                    <a:gd name="T21" fmla="*/ 2147483647 h 375"/>
                    <a:gd name="T22" fmla="*/ 2147483647 w 822"/>
                    <a:gd name="T23" fmla="*/ 2147483647 h 375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822"/>
                    <a:gd name="T37" fmla="*/ 0 h 375"/>
                    <a:gd name="T38" fmla="*/ 822 w 822"/>
                    <a:gd name="T39" fmla="*/ 375 h 375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822" h="375">
                      <a:moveTo>
                        <a:pt x="0" y="354"/>
                      </a:moveTo>
                      <a:cubicBezTo>
                        <a:pt x="0" y="366"/>
                        <a:pt x="9" y="375"/>
                        <a:pt x="21" y="375"/>
                      </a:cubicBezTo>
                      <a:lnTo>
                        <a:pt x="800" y="375"/>
                      </a:lnTo>
                      <a:cubicBezTo>
                        <a:pt x="812" y="375"/>
                        <a:pt x="822" y="366"/>
                        <a:pt x="822" y="354"/>
                      </a:cubicBezTo>
                      <a:lnTo>
                        <a:pt x="822" y="0"/>
                      </a:lnTo>
                      <a:lnTo>
                        <a:pt x="0" y="0"/>
                      </a:lnTo>
                      <a:lnTo>
                        <a:pt x="0" y="354"/>
                      </a:lnTo>
                      <a:close/>
                      <a:moveTo>
                        <a:pt x="473" y="186"/>
                      </a:moveTo>
                      <a:lnTo>
                        <a:pt x="733" y="186"/>
                      </a:lnTo>
                      <a:lnTo>
                        <a:pt x="733" y="255"/>
                      </a:lnTo>
                      <a:lnTo>
                        <a:pt x="473" y="255"/>
                      </a:lnTo>
                      <a:lnTo>
                        <a:pt x="473" y="18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950" dirty="0"/>
                </a:p>
              </p:txBody>
            </p:sp>
            <p:sp>
              <p:nvSpPr>
                <p:cNvPr id="29" name="Freeform 11"/>
                <p:cNvSpPr>
                  <a:spLocks/>
                </p:cNvSpPr>
                <p:nvPr/>
              </p:nvSpPr>
              <p:spPr bwMode="auto">
                <a:xfrm>
                  <a:off x="1587342" y="1903589"/>
                  <a:ext cx="306542" cy="45414"/>
                </a:xfrm>
                <a:custGeom>
                  <a:avLst/>
                  <a:gdLst>
                    <a:gd name="T0" fmla="*/ 2147483647 w 822"/>
                    <a:gd name="T1" fmla="*/ 0 h 121"/>
                    <a:gd name="T2" fmla="*/ 2147483647 w 822"/>
                    <a:gd name="T3" fmla="*/ 0 h 121"/>
                    <a:gd name="T4" fmla="*/ 0 w 822"/>
                    <a:gd name="T5" fmla="*/ 2147483647 h 121"/>
                    <a:gd name="T6" fmla="*/ 0 w 822"/>
                    <a:gd name="T7" fmla="*/ 2147483647 h 121"/>
                    <a:gd name="T8" fmla="*/ 2147483647 w 822"/>
                    <a:gd name="T9" fmla="*/ 2147483647 h 121"/>
                    <a:gd name="T10" fmla="*/ 2147483647 w 822"/>
                    <a:gd name="T11" fmla="*/ 2147483647 h 121"/>
                    <a:gd name="T12" fmla="*/ 2147483647 w 822"/>
                    <a:gd name="T13" fmla="*/ 0 h 12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22"/>
                    <a:gd name="T22" fmla="*/ 0 h 121"/>
                    <a:gd name="T23" fmla="*/ 822 w 822"/>
                    <a:gd name="T24" fmla="*/ 121 h 12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22" h="121">
                      <a:moveTo>
                        <a:pt x="800" y="0"/>
                      </a:moveTo>
                      <a:lnTo>
                        <a:pt x="21" y="0"/>
                      </a:lnTo>
                      <a:cubicBezTo>
                        <a:pt x="9" y="0"/>
                        <a:pt x="0" y="10"/>
                        <a:pt x="0" y="22"/>
                      </a:cubicBezTo>
                      <a:lnTo>
                        <a:pt x="0" y="121"/>
                      </a:lnTo>
                      <a:lnTo>
                        <a:pt x="822" y="121"/>
                      </a:lnTo>
                      <a:lnTo>
                        <a:pt x="822" y="22"/>
                      </a:lnTo>
                      <a:cubicBezTo>
                        <a:pt x="822" y="10"/>
                        <a:pt x="812" y="0"/>
                        <a:pt x="80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950" dirty="0"/>
                </a:p>
              </p:txBody>
            </p:sp>
          </p:grpSp>
          <p:sp>
            <p:nvSpPr>
              <p:cNvPr id="26" name="Freeform 6"/>
              <p:cNvSpPr>
                <a:spLocks noEditPoints="1"/>
              </p:cNvSpPr>
              <p:nvPr/>
            </p:nvSpPr>
            <p:spPr bwMode="auto">
              <a:xfrm>
                <a:off x="1137906" y="1563186"/>
                <a:ext cx="457541" cy="748214"/>
              </a:xfrm>
              <a:custGeom>
                <a:avLst/>
                <a:gdLst>
                  <a:gd name="T0" fmla="*/ 2147483647 w 2045"/>
                  <a:gd name="T1" fmla="*/ 2147483647 h 3336"/>
                  <a:gd name="T2" fmla="*/ 2147483647 w 2045"/>
                  <a:gd name="T3" fmla="*/ 2147483647 h 3336"/>
                  <a:gd name="T4" fmla="*/ 2147483647 w 2045"/>
                  <a:gd name="T5" fmla="*/ 2147483647 h 3336"/>
                  <a:gd name="T6" fmla="*/ 2147483647 w 2045"/>
                  <a:gd name="T7" fmla="*/ 2147483647 h 3336"/>
                  <a:gd name="T8" fmla="*/ 2147483647 w 2045"/>
                  <a:gd name="T9" fmla="*/ 2147483647 h 3336"/>
                  <a:gd name="T10" fmla="*/ 2147483647 w 2045"/>
                  <a:gd name="T11" fmla="*/ 2147483647 h 3336"/>
                  <a:gd name="T12" fmla="*/ 2147483647 w 2045"/>
                  <a:gd name="T13" fmla="*/ 2147483647 h 3336"/>
                  <a:gd name="T14" fmla="*/ 2147483647 w 2045"/>
                  <a:gd name="T15" fmla="*/ 2147483647 h 3336"/>
                  <a:gd name="T16" fmla="*/ 2147483647 w 2045"/>
                  <a:gd name="T17" fmla="*/ 2147483647 h 3336"/>
                  <a:gd name="T18" fmla="*/ 2147483647 w 2045"/>
                  <a:gd name="T19" fmla="*/ 2147483647 h 3336"/>
                  <a:gd name="T20" fmla="*/ 2147483647 w 2045"/>
                  <a:gd name="T21" fmla="*/ 2147483647 h 3336"/>
                  <a:gd name="T22" fmla="*/ 2147483647 w 2045"/>
                  <a:gd name="T23" fmla="*/ 2147483647 h 3336"/>
                  <a:gd name="T24" fmla="*/ 2147483647 w 2045"/>
                  <a:gd name="T25" fmla="*/ 2147483647 h 3336"/>
                  <a:gd name="T26" fmla="*/ 2147483647 w 2045"/>
                  <a:gd name="T27" fmla="*/ 2147483647 h 3336"/>
                  <a:gd name="T28" fmla="*/ 2147483647 w 2045"/>
                  <a:gd name="T29" fmla="*/ 2147483647 h 3336"/>
                  <a:gd name="T30" fmla="*/ 2147483647 w 2045"/>
                  <a:gd name="T31" fmla="*/ 2147483647 h 3336"/>
                  <a:gd name="T32" fmla="*/ 2147483647 w 2045"/>
                  <a:gd name="T33" fmla="*/ 2147483647 h 3336"/>
                  <a:gd name="T34" fmla="*/ 2147483647 w 2045"/>
                  <a:gd name="T35" fmla="*/ 2147483647 h 3336"/>
                  <a:gd name="T36" fmla="*/ 2147483647 w 2045"/>
                  <a:gd name="T37" fmla="*/ 2147483647 h 3336"/>
                  <a:gd name="T38" fmla="*/ 2147483647 w 2045"/>
                  <a:gd name="T39" fmla="*/ 2147483647 h 3336"/>
                  <a:gd name="T40" fmla="*/ 2147483647 w 2045"/>
                  <a:gd name="T41" fmla="*/ 2147483647 h 3336"/>
                  <a:gd name="T42" fmla="*/ 2147483647 w 2045"/>
                  <a:gd name="T43" fmla="*/ 2147483647 h 3336"/>
                  <a:gd name="T44" fmla="*/ 2147483647 w 2045"/>
                  <a:gd name="T45" fmla="*/ 2147483647 h 3336"/>
                  <a:gd name="T46" fmla="*/ 2147483647 w 2045"/>
                  <a:gd name="T47" fmla="*/ 2147483647 h 3336"/>
                  <a:gd name="T48" fmla="*/ 2147483647 w 2045"/>
                  <a:gd name="T49" fmla="*/ 2147483647 h 3336"/>
                  <a:gd name="T50" fmla="*/ 2147483647 w 2045"/>
                  <a:gd name="T51" fmla="*/ 2147483647 h 3336"/>
                  <a:gd name="T52" fmla="*/ 2147483647 w 2045"/>
                  <a:gd name="T53" fmla="*/ 2147483647 h 3336"/>
                  <a:gd name="T54" fmla="*/ 2147483647 w 2045"/>
                  <a:gd name="T55" fmla="*/ 2147483647 h 3336"/>
                  <a:gd name="T56" fmla="*/ 2147483647 w 2045"/>
                  <a:gd name="T57" fmla="*/ 2147483647 h 3336"/>
                  <a:gd name="T58" fmla="*/ 2147483647 w 2045"/>
                  <a:gd name="T59" fmla="*/ 2147483647 h 3336"/>
                  <a:gd name="T60" fmla="*/ 2147483647 w 2045"/>
                  <a:gd name="T61" fmla="*/ 2147483647 h 3336"/>
                  <a:gd name="T62" fmla="*/ 2147483647 w 2045"/>
                  <a:gd name="T63" fmla="*/ 2147483647 h 3336"/>
                  <a:gd name="T64" fmla="*/ 2147483647 w 2045"/>
                  <a:gd name="T65" fmla="*/ 2147483647 h 3336"/>
                  <a:gd name="T66" fmla="*/ 2147483647 w 2045"/>
                  <a:gd name="T67" fmla="*/ 2147483647 h 3336"/>
                  <a:gd name="T68" fmla="*/ 2147483647 w 2045"/>
                  <a:gd name="T69" fmla="*/ 2147483647 h 3336"/>
                  <a:gd name="T70" fmla="*/ 2147483647 w 2045"/>
                  <a:gd name="T71" fmla="*/ 2147483647 h 3336"/>
                  <a:gd name="T72" fmla="*/ 2147483647 w 2045"/>
                  <a:gd name="T73" fmla="*/ 2147483647 h 3336"/>
                  <a:gd name="T74" fmla="*/ 2147483647 w 2045"/>
                  <a:gd name="T75" fmla="*/ 2147483647 h 3336"/>
                  <a:gd name="T76" fmla="*/ 2147483647 w 2045"/>
                  <a:gd name="T77" fmla="*/ 2147483647 h 3336"/>
                  <a:gd name="T78" fmla="*/ 2147483647 w 2045"/>
                  <a:gd name="T79" fmla="*/ 2147483647 h 3336"/>
                  <a:gd name="T80" fmla="*/ 2147483647 w 2045"/>
                  <a:gd name="T81" fmla="*/ 2147483647 h 3336"/>
                  <a:gd name="T82" fmla="*/ 2147483647 w 2045"/>
                  <a:gd name="T83" fmla="*/ 2147483647 h 3336"/>
                  <a:gd name="T84" fmla="*/ 2147483647 w 2045"/>
                  <a:gd name="T85" fmla="*/ 2147483647 h 3336"/>
                  <a:gd name="T86" fmla="*/ 2147483647 w 2045"/>
                  <a:gd name="T87" fmla="*/ 2147483647 h 3336"/>
                  <a:gd name="T88" fmla="*/ 2147483647 w 2045"/>
                  <a:gd name="T89" fmla="*/ 2147483647 h 3336"/>
                  <a:gd name="T90" fmla="*/ 2147483647 w 2045"/>
                  <a:gd name="T91" fmla="*/ 2147483647 h 3336"/>
                  <a:gd name="T92" fmla="*/ 0 w 2045"/>
                  <a:gd name="T93" fmla="*/ 2147483647 h 3336"/>
                  <a:gd name="T94" fmla="*/ 2147483647 w 2045"/>
                  <a:gd name="T95" fmla="*/ 2147483647 h 3336"/>
                  <a:gd name="T96" fmla="*/ 2147483647 w 2045"/>
                  <a:gd name="T97" fmla="*/ 2147483647 h 3336"/>
                  <a:gd name="T98" fmla="*/ 2147483647 w 2045"/>
                  <a:gd name="T99" fmla="*/ 2147483647 h 33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045"/>
                  <a:gd name="T151" fmla="*/ 0 h 3336"/>
                  <a:gd name="T152" fmla="*/ 2045 w 2045"/>
                  <a:gd name="T153" fmla="*/ 3336 h 33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045" h="3336">
                    <a:moveTo>
                      <a:pt x="1023" y="2893"/>
                    </a:moveTo>
                    <a:lnTo>
                      <a:pt x="992" y="2896"/>
                    </a:lnTo>
                    <a:lnTo>
                      <a:pt x="963" y="2905"/>
                    </a:lnTo>
                    <a:lnTo>
                      <a:pt x="937" y="2919"/>
                    </a:lnTo>
                    <a:lnTo>
                      <a:pt x="915" y="2938"/>
                    </a:lnTo>
                    <a:lnTo>
                      <a:pt x="896" y="2960"/>
                    </a:lnTo>
                    <a:lnTo>
                      <a:pt x="882" y="2986"/>
                    </a:lnTo>
                    <a:lnTo>
                      <a:pt x="874" y="3015"/>
                    </a:lnTo>
                    <a:lnTo>
                      <a:pt x="870" y="3046"/>
                    </a:lnTo>
                    <a:lnTo>
                      <a:pt x="874" y="3077"/>
                    </a:lnTo>
                    <a:lnTo>
                      <a:pt x="882" y="3106"/>
                    </a:lnTo>
                    <a:lnTo>
                      <a:pt x="896" y="3131"/>
                    </a:lnTo>
                    <a:lnTo>
                      <a:pt x="915" y="3155"/>
                    </a:lnTo>
                    <a:lnTo>
                      <a:pt x="937" y="3173"/>
                    </a:lnTo>
                    <a:lnTo>
                      <a:pt x="963" y="3187"/>
                    </a:lnTo>
                    <a:lnTo>
                      <a:pt x="992" y="3196"/>
                    </a:lnTo>
                    <a:lnTo>
                      <a:pt x="1023" y="3199"/>
                    </a:lnTo>
                    <a:lnTo>
                      <a:pt x="1054" y="3196"/>
                    </a:lnTo>
                    <a:lnTo>
                      <a:pt x="1082" y="3187"/>
                    </a:lnTo>
                    <a:lnTo>
                      <a:pt x="1108" y="3173"/>
                    </a:lnTo>
                    <a:lnTo>
                      <a:pt x="1130" y="3154"/>
                    </a:lnTo>
                    <a:lnTo>
                      <a:pt x="1149" y="3131"/>
                    </a:lnTo>
                    <a:lnTo>
                      <a:pt x="1163" y="3106"/>
                    </a:lnTo>
                    <a:lnTo>
                      <a:pt x="1172" y="3077"/>
                    </a:lnTo>
                    <a:lnTo>
                      <a:pt x="1175" y="3046"/>
                    </a:lnTo>
                    <a:lnTo>
                      <a:pt x="1172" y="3015"/>
                    </a:lnTo>
                    <a:lnTo>
                      <a:pt x="1163" y="2986"/>
                    </a:lnTo>
                    <a:lnTo>
                      <a:pt x="1149" y="2960"/>
                    </a:lnTo>
                    <a:lnTo>
                      <a:pt x="1130" y="2938"/>
                    </a:lnTo>
                    <a:lnTo>
                      <a:pt x="1108" y="2919"/>
                    </a:lnTo>
                    <a:lnTo>
                      <a:pt x="1082" y="2905"/>
                    </a:lnTo>
                    <a:lnTo>
                      <a:pt x="1054" y="2896"/>
                    </a:lnTo>
                    <a:lnTo>
                      <a:pt x="1023" y="2893"/>
                    </a:lnTo>
                    <a:close/>
                    <a:moveTo>
                      <a:pt x="895" y="119"/>
                    </a:moveTo>
                    <a:lnTo>
                      <a:pt x="875" y="121"/>
                    </a:lnTo>
                    <a:lnTo>
                      <a:pt x="858" y="127"/>
                    </a:lnTo>
                    <a:lnTo>
                      <a:pt x="843" y="137"/>
                    </a:lnTo>
                    <a:lnTo>
                      <a:pt x="834" y="150"/>
                    </a:lnTo>
                    <a:lnTo>
                      <a:pt x="831" y="164"/>
                    </a:lnTo>
                    <a:lnTo>
                      <a:pt x="834" y="179"/>
                    </a:lnTo>
                    <a:lnTo>
                      <a:pt x="843" y="190"/>
                    </a:lnTo>
                    <a:lnTo>
                      <a:pt x="858" y="200"/>
                    </a:lnTo>
                    <a:lnTo>
                      <a:pt x="875" y="207"/>
                    </a:lnTo>
                    <a:lnTo>
                      <a:pt x="895" y="210"/>
                    </a:lnTo>
                    <a:lnTo>
                      <a:pt x="1150" y="210"/>
                    </a:lnTo>
                    <a:lnTo>
                      <a:pt x="1171" y="207"/>
                    </a:lnTo>
                    <a:lnTo>
                      <a:pt x="1189" y="200"/>
                    </a:lnTo>
                    <a:lnTo>
                      <a:pt x="1203" y="190"/>
                    </a:lnTo>
                    <a:lnTo>
                      <a:pt x="1211" y="179"/>
                    </a:lnTo>
                    <a:lnTo>
                      <a:pt x="1214" y="164"/>
                    </a:lnTo>
                    <a:lnTo>
                      <a:pt x="1211" y="150"/>
                    </a:lnTo>
                    <a:lnTo>
                      <a:pt x="1203" y="137"/>
                    </a:lnTo>
                    <a:lnTo>
                      <a:pt x="1189" y="127"/>
                    </a:lnTo>
                    <a:lnTo>
                      <a:pt x="1171" y="121"/>
                    </a:lnTo>
                    <a:lnTo>
                      <a:pt x="1150" y="119"/>
                    </a:lnTo>
                    <a:lnTo>
                      <a:pt x="895" y="119"/>
                    </a:lnTo>
                    <a:close/>
                    <a:moveTo>
                      <a:pt x="320" y="99"/>
                    </a:moveTo>
                    <a:lnTo>
                      <a:pt x="303" y="102"/>
                    </a:lnTo>
                    <a:lnTo>
                      <a:pt x="288" y="108"/>
                    </a:lnTo>
                    <a:lnTo>
                      <a:pt x="275" y="119"/>
                    </a:lnTo>
                    <a:lnTo>
                      <a:pt x="264" y="132"/>
                    </a:lnTo>
                    <a:lnTo>
                      <a:pt x="258" y="147"/>
                    </a:lnTo>
                    <a:lnTo>
                      <a:pt x="256" y="164"/>
                    </a:lnTo>
                    <a:lnTo>
                      <a:pt x="259" y="184"/>
                    </a:lnTo>
                    <a:lnTo>
                      <a:pt x="268" y="202"/>
                    </a:lnTo>
                    <a:lnTo>
                      <a:pt x="282" y="216"/>
                    </a:lnTo>
                    <a:lnTo>
                      <a:pt x="299" y="225"/>
                    </a:lnTo>
                    <a:lnTo>
                      <a:pt x="320" y="228"/>
                    </a:lnTo>
                    <a:lnTo>
                      <a:pt x="340" y="225"/>
                    </a:lnTo>
                    <a:lnTo>
                      <a:pt x="357" y="216"/>
                    </a:lnTo>
                    <a:lnTo>
                      <a:pt x="371" y="202"/>
                    </a:lnTo>
                    <a:lnTo>
                      <a:pt x="380" y="184"/>
                    </a:lnTo>
                    <a:lnTo>
                      <a:pt x="383" y="164"/>
                    </a:lnTo>
                    <a:lnTo>
                      <a:pt x="380" y="143"/>
                    </a:lnTo>
                    <a:lnTo>
                      <a:pt x="371" y="126"/>
                    </a:lnTo>
                    <a:lnTo>
                      <a:pt x="357" y="112"/>
                    </a:lnTo>
                    <a:lnTo>
                      <a:pt x="340" y="103"/>
                    </a:lnTo>
                    <a:lnTo>
                      <a:pt x="320" y="99"/>
                    </a:lnTo>
                    <a:close/>
                    <a:moveTo>
                      <a:pt x="256" y="0"/>
                    </a:moveTo>
                    <a:lnTo>
                      <a:pt x="1790" y="0"/>
                    </a:lnTo>
                    <a:lnTo>
                      <a:pt x="1831" y="3"/>
                    </a:lnTo>
                    <a:lnTo>
                      <a:pt x="1870" y="13"/>
                    </a:lnTo>
                    <a:lnTo>
                      <a:pt x="1907" y="29"/>
                    </a:lnTo>
                    <a:lnTo>
                      <a:pt x="1940" y="49"/>
                    </a:lnTo>
                    <a:lnTo>
                      <a:pt x="1970" y="75"/>
                    </a:lnTo>
                    <a:lnTo>
                      <a:pt x="1996" y="105"/>
                    </a:lnTo>
                    <a:lnTo>
                      <a:pt x="2017" y="139"/>
                    </a:lnTo>
                    <a:lnTo>
                      <a:pt x="2033" y="175"/>
                    </a:lnTo>
                    <a:lnTo>
                      <a:pt x="2042" y="215"/>
                    </a:lnTo>
                    <a:lnTo>
                      <a:pt x="2045" y="257"/>
                    </a:lnTo>
                    <a:lnTo>
                      <a:pt x="2045" y="829"/>
                    </a:lnTo>
                    <a:lnTo>
                      <a:pt x="1917" y="829"/>
                    </a:lnTo>
                    <a:lnTo>
                      <a:pt x="1917" y="385"/>
                    </a:lnTo>
                    <a:lnTo>
                      <a:pt x="1914" y="365"/>
                    </a:lnTo>
                    <a:lnTo>
                      <a:pt x="1905" y="348"/>
                    </a:lnTo>
                    <a:lnTo>
                      <a:pt x="1891" y="334"/>
                    </a:lnTo>
                    <a:lnTo>
                      <a:pt x="1874" y="324"/>
                    </a:lnTo>
                    <a:lnTo>
                      <a:pt x="1854" y="321"/>
                    </a:lnTo>
                    <a:lnTo>
                      <a:pt x="192" y="321"/>
                    </a:lnTo>
                    <a:lnTo>
                      <a:pt x="172" y="324"/>
                    </a:lnTo>
                    <a:lnTo>
                      <a:pt x="154" y="334"/>
                    </a:lnTo>
                    <a:lnTo>
                      <a:pt x="141" y="348"/>
                    </a:lnTo>
                    <a:lnTo>
                      <a:pt x="131" y="365"/>
                    </a:lnTo>
                    <a:lnTo>
                      <a:pt x="128" y="385"/>
                    </a:lnTo>
                    <a:lnTo>
                      <a:pt x="128" y="2694"/>
                    </a:lnTo>
                    <a:lnTo>
                      <a:pt x="131" y="2714"/>
                    </a:lnTo>
                    <a:lnTo>
                      <a:pt x="141" y="2732"/>
                    </a:lnTo>
                    <a:lnTo>
                      <a:pt x="154" y="2745"/>
                    </a:lnTo>
                    <a:lnTo>
                      <a:pt x="172" y="2755"/>
                    </a:lnTo>
                    <a:lnTo>
                      <a:pt x="192" y="2758"/>
                    </a:lnTo>
                    <a:lnTo>
                      <a:pt x="1854" y="2758"/>
                    </a:lnTo>
                    <a:lnTo>
                      <a:pt x="1874" y="2755"/>
                    </a:lnTo>
                    <a:lnTo>
                      <a:pt x="1891" y="2745"/>
                    </a:lnTo>
                    <a:lnTo>
                      <a:pt x="1905" y="2732"/>
                    </a:lnTo>
                    <a:lnTo>
                      <a:pt x="1914" y="2714"/>
                    </a:lnTo>
                    <a:lnTo>
                      <a:pt x="1917" y="2694"/>
                    </a:lnTo>
                    <a:lnTo>
                      <a:pt x="1917" y="2508"/>
                    </a:lnTo>
                    <a:lnTo>
                      <a:pt x="2045" y="2508"/>
                    </a:lnTo>
                    <a:lnTo>
                      <a:pt x="2045" y="3079"/>
                    </a:lnTo>
                    <a:lnTo>
                      <a:pt x="2042" y="3121"/>
                    </a:lnTo>
                    <a:lnTo>
                      <a:pt x="2033" y="3159"/>
                    </a:lnTo>
                    <a:lnTo>
                      <a:pt x="2017" y="3197"/>
                    </a:lnTo>
                    <a:lnTo>
                      <a:pt x="1996" y="3230"/>
                    </a:lnTo>
                    <a:lnTo>
                      <a:pt x="1970" y="3260"/>
                    </a:lnTo>
                    <a:lnTo>
                      <a:pt x="1940" y="3286"/>
                    </a:lnTo>
                    <a:lnTo>
                      <a:pt x="1907" y="3307"/>
                    </a:lnTo>
                    <a:lnTo>
                      <a:pt x="1870" y="3323"/>
                    </a:lnTo>
                    <a:lnTo>
                      <a:pt x="1831" y="3332"/>
                    </a:lnTo>
                    <a:lnTo>
                      <a:pt x="1790" y="3336"/>
                    </a:lnTo>
                    <a:lnTo>
                      <a:pt x="256" y="3336"/>
                    </a:lnTo>
                    <a:lnTo>
                      <a:pt x="214" y="3332"/>
                    </a:lnTo>
                    <a:lnTo>
                      <a:pt x="175" y="3323"/>
                    </a:lnTo>
                    <a:lnTo>
                      <a:pt x="138" y="3307"/>
                    </a:lnTo>
                    <a:lnTo>
                      <a:pt x="104" y="3286"/>
                    </a:lnTo>
                    <a:lnTo>
                      <a:pt x="75" y="3260"/>
                    </a:lnTo>
                    <a:lnTo>
                      <a:pt x="49" y="3230"/>
                    </a:lnTo>
                    <a:lnTo>
                      <a:pt x="29" y="3197"/>
                    </a:lnTo>
                    <a:lnTo>
                      <a:pt x="13" y="3159"/>
                    </a:lnTo>
                    <a:lnTo>
                      <a:pt x="3" y="3121"/>
                    </a:lnTo>
                    <a:lnTo>
                      <a:pt x="0" y="3079"/>
                    </a:lnTo>
                    <a:lnTo>
                      <a:pt x="0" y="257"/>
                    </a:lnTo>
                    <a:lnTo>
                      <a:pt x="3" y="215"/>
                    </a:lnTo>
                    <a:lnTo>
                      <a:pt x="13" y="175"/>
                    </a:lnTo>
                    <a:lnTo>
                      <a:pt x="29" y="139"/>
                    </a:lnTo>
                    <a:lnTo>
                      <a:pt x="49" y="105"/>
                    </a:lnTo>
                    <a:lnTo>
                      <a:pt x="75" y="75"/>
                    </a:lnTo>
                    <a:lnTo>
                      <a:pt x="104" y="49"/>
                    </a:lnTo>
                    <a:lnTo>
                      <a:pt x="138" y="29"/>
                    </a:lnTo>
                    <a:lnTo>
                      <a:pt x="175" y="13"/>
                    </a:lnTo>
                    <a:lnTo>
                      <a:pt x="214" y="3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53866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13886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8172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aphicFrame>
        <p:nvGraphicFramePr>
          <p:cNvPr id="75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2443448"/>
              </p:ext>
            </p:extLst>
          </p:nvPr>
        </p:nvGraphicFramePr>
        <p:xfrm>
          <a:off x="457200" y="1186354"/>
          <a:ext cx="8991600" cy="9321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8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94612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954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91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ozszerzenie Programu </a:t>
                      </a:r>
                      <a:r>
                        <a:rPr lang="pl-PL" altLang="pl-PL" sz="1100" dirty="0" smtClean="0">
                          <a:solidFill>
                            <a:srgbClr val="000000"/>
                          </a:solidFill>
                          <a:latin typeface="Calibri" pitchFamily="34" charset="0"/>
                        </a:rPr>
                        <a:t>Wsparcia Obrotu Bezgotówkowego dla jednostek publicznych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1.2019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prowadzenie ustawowego obowiązku zapłaty instrumentem elektronicznym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5366" name="Title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675439" cy="831850"/>
          </a:xfrm>
        </p:spPr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Cele strumienia </a:t>
            </a:r>
            <a:r>
              <a:rPr lang="pl-PL" altLang="pl-PL" dirty="0" smtClean="0">
                <a:solidFill>
                  <a:srgbClr val="DC6E00"/>
                </a:solidFill>
              </a:rPr>
              <a:t>Zwiększenie Obrotu Bezgotówkowego</a:t>
            </a:r>
            <a:r>
              <a:rPr lang="pl-PL" altLang="pl-PL" dirty="0" smtClean="0">
                <a:solidFill>
                  <a:srgbClr val="0166B6"/>
                </a:solidFill>
              </a:rPr>
              <a:t> </a:t>
            </a:r>
            <a:r>
              <a:rPr lang="pl-PL" altLang="pl-PL" dirty="0">
                <a:solidFill>
                  <a:srgbClr val="0166B6"/>
                </a:solidFill>
              </a:rPr>
              <a:t>są </a:t>
            </a:r>
            <a:r>
              <a:rPr lang="pl-PL" altLang="pl-PL" dirty="0" smtClean="0">
                <a:solidFill>
                  <a:srgbClr val="0166B6"/>
                </a:solidFill>
              </a:rPr>
              <a:t>aktualnie realizowane </a:t>
            </a:r>
            <a:r>
              <a:rPr lang="pl-PL" altLang="pl-PL" dirty="0">
                <a:solidFill>
                  <a:srgbClr val="0166B6"/>
                </a:solidFill>
              </a:rPr>
              <a:t>w ramach </a:t>
            </a:r>
            <a:r>
              <a:rPr lang="pl-PL" altLang="pl-PL" dirty="0" smtClean="0">
                <a:solidFill>
                  <a:srgbClr val="DC6E00"/>
                </a:solidFill>
              </a:rPr>
              <a:t>dwóch głównych projektów</a:t>
            </a:r>
            <a:endParaRPr lang="pl-PL" altLang="pl-PL" dirty="0">
              <a:solidFill>
                <a:srgbClr val="0166B6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677988" y="6496294"/>
            <a:ext cx="17956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Wczesne prace koncepcyjne</a:t>
            </a:r>
          </a:p>
        </p:txBody>
      </p:sp>
      <p:sp>
        <p:nvSpPr>
          <p:cNvPr id="93" name="Rectangle 92"/>
          <p:cNvSpPr/>
          <p:nvPr/>
        </p:nvSpPr>
        <p:spPr>
          <a:xfrm>
            <a:off x="641350" y="6489944"/>
            <a:ext cx="816249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94" name="Oval 93"/>
          <p:cNvSpPr/>
          <p:nvPr/>
        </p:nvSpPr>
        <p:spPr bwMode="gray">
          <a:xfrm>
            <a:off x="3516313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5" name="Arc 94"/>
          <p:cNvSpPr/>
          <p:nvPr/>
        </p:nvSpPr>
        <p:spPr bwMode="gray">
          <a:xfrm>
            <a:off x="3516313" y="6513158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3724275" y="6485547"/>
            <a:ext cx="21691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awansowane prace koncepcyjne</a:t>
            </a:r>
          </a:p>
        </p:txBody>
      </p:sp>
      <p:sp>
        <p:nvSpPr>
          <p:cNvPr id="98" name="Oval 97"/>
          <p:cNvSpPr/>
          <p:nvPr/>
        </p:nvSpPr>
        <p:spPr bwMode="gray">
          <a:xfrm>
            <a:off x="5904097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1" name="Arc 110"/>
          <p:cNvSpPr/>
          <p:nvPr/>
        </p:nvSpPr>
        <p:spPr bwMode="gray">
          <a:xfrm>
            <a:off x="5904097" y="6513158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6112059" y="6485547"/>
            <a:ext cx="181171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116" name="Oval 115"/>
          <p:cNvSpPr/>
          <p:nvPr/>
        </p:nvSpPr>
        <p:spPr bwMode="gray">
          <a:xfrm>
            <a:off x="7889193" y="6513158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8106681" y="6485547"/>
            <a:ext cx="862737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129" name="Oval 128"/>
          <p:cNvSpPr/>
          <p:nvPr>
            <p:custDataLst>
              <p:tags r:id="rId4"/>
            </p:custDataLst>
          </p:nvPr>
        </p:nvSpPr>
        <p:spPr bwMode="gray">
          <a:xfrm>
            <a:off x="433388" y="65182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5" name="Oval 134"/>
          <p:cNvSpPr/>
          <p:nvPr>
            <p:custDataLst>
              <p:tags r:id="rId5"/>
            </p:custDataLst>
          </p:nvPr>
        </p:nvSpPr>
        <p:spPr bwMode="gray">
          <a:xfrm>
            <a:off x="1447800" y="652462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7" name="Arc 136"/>
          <p:cNvSpPr/>
          <p:nvPr>
            <p:custDataLst>
              <p:tags r:id="rId6"/>
            </p:custDataLst>
          </p:nvPr>
        </p:nvSpPr>
        <p:spPr bwMode="gray">
          <a:xfrm>
            <a:off x="1447800" y="6524625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20" name="Oval 119"/>
          <p:cNvSpPr/>
          <p:nvPr/>
        </p:nvSpPr>
        <p:spPr bwMode="auto">
          <a:xfrm>
            <a:off x="8103982" y="1628800"/>
            <a:ext cx="196364" cy="196364"/>
          </a:xfrm>
          <a:prstGeom prst="ellipse">
            <a:avLst/>
          </a:prstGeom>
          <a:solidFill>
            <a:srgbClr val="B1726B"/>
          </a:solidFill>
          <a:ln w="12700" cap="flat" cmpd="sng" algn="ctr">
            <a:solidFill>
              <a:srgbClr val="B1726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56" name="Oval 155"/>
          <p:cNvSpPr/>
          <p:nvPr>
            <p:custDataLst>
              <p:tags r:id="rId7"/>
            </p:custDataLst>
          </p:nvPr>
        </p:nvSpPr>
        <p:spPr bwMode="gray">
          <a:xfrm>
            <a:off x="7261225" y="163353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Arc 1"/>
          <p:cNvSpPr/>
          <p:nvPr>
            <p:custDataLst>
              <p:tags r:id="rId8"/>
            </p:custDataLst>
          </p:nvPr>
        </p:nvSpPr>
        <p:spPr bwMode="gray">
          <a:xfrm>
            <a:off x="7261225" y="1633538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59" name="Oval 158"/>
          <p:cNvSpPr/>
          <p:nvPr>
            <p:custDataLst>
              <p:tags r:id="rId9"/>
            </p:custDataLst>
          </p:nvPr>
        </p:nvSpPr>
        <p:spPr bwMode="gray">
          <a:xfrm>
            <a:off x="7261225" y="1897063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" name="Arc 2"/>
          <p:cNvSpPr/>
          <p:nvPr>
            <p:custDataLst>
              <p:tags r:id="rId10"/>
            </p:custDataLst>
          </p:nvPr>
        </p:nvSpPr>
        <p:spPr bwMode="gray">
          <a:xfrm>
            <a:off x="7261225" y="1897063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43" name="Oval 119"/>
          <p:cNvSpPr/>
          <p:nvPr/>
        </p:nvSpPr>
        <p:spPr bwMode="auto">
          <a:xfrm>
            <a:off x="8106681" y="1879382"/>
            <a:ext cx="196364" cy="196364"/>
          </a:xfrm>
          <a:prstGeom prst="ellipse">
            <a:avLst/>
          </a:prstGeom>
          <a:solidFill>
            <a:srgbClr val="B1726B"/>
          </a:solidFill>
          <a:ln w="12700" cap="flat" cmpd="sng" algn="ctr">
            <a:solidFill>
              <a:srgbClr val="B1726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55553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632965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64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642938"/>
            <a:ext cx="171979" cy="171979"/>
          </a:xfrm>
          <a:prstGeom prst="rect">
            <a:avLst/>
          </a:prstGeom>
          <a:solidFill>
            <a:srgbClr val="FFFC71">
              <a:alpha val="80000"/>
            </a:srgb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9" name="Freeform 6"/>
          <p:cNvSpPr>
            <a:spLocks noChangeAspect="1" noEditPoints="1"/>
          </p:cNvSpPr>
          <p:nvPr/>
        </p:nvSpPr>
        <p:spPr bwMode="auto">
          <a:xfrm flipH="1" flipV="1">
            <a:off x="-4330031" y="1790818"/>
            <a:ext cx="18532635" cy="3967264"/>
          </a:xfrm>
          <a:custGeom>
            <a:avLst/>
            <a:gdLst>
              <a:gd name="T0" fmla="*/ 1805 w 3684"/>
              <a:gd name="T1" fmla="*/ 1017 h 2328"/>
              <a:gd name="T2" fmla="*/ 1478 w 3684"/>
              <a:gd name="T3" fmla="*/ 1918 h 2328"/>
              <a:gd name="T4" fmla="*/ 1073 w 3684"/>
              <a:gd name="T5" fmla="*/ 2107 h 2328"/>
              <a:gd name="T6" fmla="*/ 761 w 3684"/>
              <a:gd name="T7" fmla="*/ 1609 h 2328"/>
              <a:gd name="T8" fmla="*/ 1162 w 3684"/>
              <a:gd name="T9" fmla="*/ 2284 h 2328"/>
              <a:gd name="T10" fmla="*/ 1518 w 3684"/>
              <a:gd name="T11" fmla="*/ 1923 h 2328"/>
              <a:gd name="T12" fmla="*/ 1857 w 3684"/>
              <a:gd name="T13" fmla="*/ 950 h 2328"/>
              <a:gd name="T14" fmla="*/ 2422 w 3684"/>
              <a:gd name="T15" fmla="*/ 690 h 2328"/>
              <a:gd name="T16" fmla="*/ 2886 w 3684"/>
              <a:gd name="T17" fmla="*/ 1445 h 2328"/>
              <a:gd name="T18" fmla="*/ 2699 w 3684"/>
              <a:gd name="T19" fmla="*/ 1009 h 2328"/>
              <a:gd name="T20" fmla="*/ 2263 w 3684"/>
              <a:gd name="T21" fmla="*/ 505 h 2328"/>
              <a:gd name="T22" fmla="*/ 1815 w 3684"/>
              <a:gd name="T23" fmla="*/ 887 h 2328"/>
              <a:gd name="T24" fmla="*/ 1446 w 3684"/>
              <a:gd name="T25" fmla="*/ 1784 h 2328"/>
              <a:gd name="T26" fmla="*/ 1018 w 3684"/>
              <a:gd name="T27" fmla="*/ 1902 h 2328"/>
              <a:gd name="T28" fmla="*/ 767 w 3684"/>
              <a:gd name="T29" fmla="*/ 1531 h 2328"/>
              <a:gd name="T30" fmla="*/ 1177 w 3684"/>
              <a:gd name="T31" fmla="*/ 2128 h 2328"/>
              <a:gd name="T32" fmla="*/ 1541 w 3684"/>
              <a:gd name="T33" fmla="*/ 1680 h 2328"/>
              <a:gd name="T34" fmla="*/ 1911 w 3684"/>
              <a:gd name="T35" fmla="*/ 747 h 2328"/>
              <a:gd name="T36" fmla="*/ 2445 w 3684"/>
              <a:gd name="T37" fmla="*/ 547 h 2328"/>
              <a:gd name="T38" fmla="*/ 2895 w 3684"/>
              <a:gd name="T39" fmla="*/ 1363 h 2328"/>
              <a:gd name="T40" fmla="*/ 2694 w 3684"/>
              <a:gd name="T41" fmla="*/ 838 h 2328"/>
              <a:gd name="T42" fmla="*/ 2322 w 3684"/>
              <a:gd name="T43" fmla="*/ 192 h 2328"/>
              <a:gd name="T44" fmla="*/ 1817 w 3684"/>
              <a:gd name="T45" fmla="*/ 764 h 2328"/>
              <a:gd name="T46" fmla="*/ 1406 w 3684"/>
              <a:gd name="T47" fmla="*/ 1659 h 2328"/>
              <a:gd name="T48" fmla="*/ 957 w 3684"/>
              <a:gd name="T49" fmla="*/ 1687 h 2328"/>
              <a:gd name="T50" fmla="*/ 815 w 3684"/>
              <a:gd name="T51" fmla="*/ 1527 h 2328"/>
              <a:gd name="T52" fmla="*/ 1227 w 3684"/>
              <a:gd name="T53" fmla="*/ 1958 h 2328"/>
              <a:gd name="T54" fmla="*/ 1591 w 3684"/>
              <a:gd name="T55" fmla="*/ 1377 h 2328"/>
              <a:gd name="T56" fmla="*/ 2045 w 3684"/>
              <a:gd name="T57" fmla="*/ 453 h 2328"/>
              <a:gd name="T58" fmla="*/ 2561 w 3684"/>
              <a:gd name="T59" fmla="*/ 509 h 2328"/>
              <a:gd name="T60" fmla="*/ 3005 w 3684"/>
              <a:gd name="T61" fmla="*/ 1504 h 2328"/>
              <a:gd name="T62" fmla="*/ 2649 w 3684"/>
              <a:gd name="T63" fmla="*/ 556 h 2328"/>
              <a:gd name="T64" fmla="*/ 2282 w 3684"/>
              <a:gd name="T65" fmla="*/ 42 h 2328"/>
              <a:gd name="T66" fmla="*/ 1737 w 3684"/>
              <a:gd name="T67" fmla="*/ 811 h 2328"/>
              <a:gd name="T68" fmla="*/ 1275 w 3684"/>
              <a:gd name="T69" fmla="*/ 1621 h 2328"/>
              <a:gd name="T70" fmla="*/ 801 w 3684"/>
              <a:gd name="T71" fmla="*/ 1359 h 2328"/>
              <a:gd name="T72" fmla="*/ 914 w 3684"/>
              <a:gd name="T73" fmla="*/ 1574 h 2328"/>
              <a:gd name="T74" fmla="*/ 1338 w 3684"/>
              <a:gd name="T75" fmla="*/ 1696 h 2328"/>
              <a:gd name="T76" fmla="*/ 1754 w 3684"/>
              <a:gd name="T77" fmla="*/ 827 h 2328"/>
              <a:gd name="T78" fmla="*/ 2288 w 3684"/>
              <a:gd name="T79" fmla="*/ 162 h 2328"/>
              <a:gd name="T80" fmla="*/ 2727 w 3684"/>
              <a:gd name="T81" fmla="*/ 660 h 2328"/>
              <a:gd name="T82" fmla="*/ 2914 w 3684"/>
              <a:gd name="T83" fmla="*/ 1139 h 2328"/>
              <a:gd name="T84" fmla="*/ 2547 w 3684"/>
              <a:gd name="T85" fmla="*/ 170 h 2328"/>
              <a:gd name="T86" fmla="*/ 2558 w 3684"/>
              <a:gd name="T87" fmla="*/ 132 h 2328"/>
              <a:gd name="T88" fmla="*/ 2903 w 3684"/>
              <a:gd name="T89" fmla="*/ 999 h 2328"/>
              <a:gd name="T90" fmla="*/ 3301 w 3684"/>
              <a:gd name="T91" fmla="*/ 1884 h 2328"/>
              <a:gd name="T92" fmla="*/ 3683 w 3684"/>
              <a:gd name="T93" fmla="*/ 2008 h 2328"/>
              <a:gd name="T94" fmla="*/ 3039 w 3684"/>
              <a:gd name="T95" fmla="*/ 1771 h 2328"/>
              <a:gd name="T96" fmla="*/ 2582 w 3684"/>
              <a:gd name="T97" fmla="*/ 937 h 2328"/>
              <a:gd name="T98" fmla="*/ 2087 w 3684"/>
              <a:gd name="T99" fmla="*/ 727 h 2328"/>
              <a:gd name="T100" fmla="*/ 1634 w 3684"/>
              <a:gd name="T101" fmla="*/ 1647 h 2328"/>
              <a:gd name="T102" fmla="*/ 1354 w 3684"/>
              <a:gd name="T103" fmla="*/ 2275 h 2328"/>
              <a:gd name="T104" fmla="*/ 973 w 3684"/>
              <a:gd name="T105" fmla="*/ 2122 h 2328"/>
              <a:gd name="T106" fmla="*/ 573 w 3684"/>
              <a:gd name="T107" fmla="*/ 1296 h 2328"/>
              <a:gd name="T108" fmla="*/ 93 w 3684"/>
              <a:gd name="T109" fmla="*/ 1023 h 2328"/>
              <a:gd name="T110" fmla="*/ 10 w 3684"/>
              <a:gd name="T111" fmla="*/ 999 h 2328"/>
              <a:gd name="T112" fmla="*/ 549 w 3684"/>
              <a:gd name="T113" fmla="*/ 1030 h 2328"/>
              <a:gd name="T114" fmla="*/ 986 w 3684"/>
              <a:gd name="T115" fmla="*/ 1534 h 2328"/>
              <a:gd name="T116" fmla="*/ 1420 w 3684"/>
              <a:gd name="T117" fmla="*/ 1387 h 2328"/>
              <a:gd name="T118" fmla="*/ 1901 w 3684"/>
              <a:gd name="T119" fmla="*/ 403 h 2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684" h="2328">
                <a:moveTo>
                  <a:pt x="2263" y="505"/>
                </a:moveTo>
                <a:lnTo>
                  <a:pt x="2230" y="510"/>
                </a:lnTo>
                <a:lnTo>
                  <a:pt x="2195" y="521"/>
                </a:lnTo>
                <a:lnTo>
                  <a:pt x="2160" y="538"/>
                </a:lnTo>
                <a:lnTo>
                  <a:pt x="2126" y="560"/>
                </a:lnTo>
                <a:lnTo>
                  <a:pt x="2089" y="589"/>
                </a:lnTo>
                <a:lnTo>
                  <a:pt x="2052" y="624"/>
                </a:lnTo>
                <a:lnTo>
                  <a:pt x="2014" y="666"/>
                </a:lnTo>
                <a:lnTo>
                  <a:pt x="1976" y="713"/>
                </a:lnTo>
                <a:lnTo>
                  <a:pt x="1937" y="766"/>
                </a:lnTo>
                <a:lnTo>
                  <a:pt x="1901" y="823"/>
                </a:lnTo>
                <a:lnTo>
                  <a:pt x="1867" y="885"/>
                </a:lnTo>
                <a:lnTo>
                  <a:pt x="1835" y="950"/>
                </a:lnTo>
                <a:lnTo>
                  <a:pt x="1805" y="1017"/>
                </a:lnTo>
                <a:lnTo>
                  <a:pt x="1777" y="1087"/>
                </a:lnTo>
                <a:lnTo>
                  <a:pt x="1750" y="1158"/>
                </a:lnTo>
                <a:lnTo>
                  <a:pt x="1723" y="1231"/>
                </a:lnTo>
                <a:lnTo>
                  <a:pt x="1699" y="1306"/>
                </a:lnTo>
                <a:lnTo>
                  <a:pt x="1674" y="1380"/>
                </a:lnTo>
                <a:lnTo>
                  <a:pt x="1649" y="1454"/>
                </a:lnTo>
                <a:lnTo>
                  <a:pt x="1629" y="1519"/>
                </a:lnTo>
                <a:lnTo>
                  <a:pt x="1608" y="1583"/>
                </a:lnTo>
                <a:lnTo>
                  <a:pt x="1587" y="1644"/>
                </a:lnTo>
                <a:lnTo>
                  <a:pt x="1567" y="1704"/>
                </a:lnTo>
                <a:lnTo>
                  <a:pt x="1545" y="1762"/>
                </a:lnTo>
                <a:lnTo>
                  <a:pt x="1523" y="1817"/>
                </a:lnTo>
                <a:lnTo>
                  <a:pt x="1501" y="1868"/>
                </a:lnTo>
                <a:lnTo>
                  <a:pt x="1478" y="1918"/>
                </a:lnTo>
                <a:lnTo>
                  <a:pt x="1454" y="1963"/>
                </a:lnTo>
                <a:lnTo>
                  <a:pt x="1429" y="2004"/>
                </a:lnTo>
                <a:lnTo>
                  <a:pt x="1402" y="2042"/>
                </a:lnTo>
                <a:lnTo>
                  <a:pt x="1374" y="2075"/>
                </a:lnTo>
                <a:lnTo>
                  <a:pt x="1345" y="2103"/>
                </a:lnTo>
                <a:lnTo>
                  <a:pt x="1314" y="2126"/>
                </a:lnTo>
                <a:lnTo>
                  <a:pt x="1281" y="2144"/>
                </a:lnTo>
                <a:lnTo>
                  <a:pt x="1246" y="2156"/>
                </a:lnTo>
                <a:lnTo>
                  <a:pt x="1209" y="2162"/>
                </a:lnTo>
                <a:lnTo>
                  <a:pt x="1198" y="2163"/>
                </a:lnTo>
                <a:lnTo>
                  <a:pt x="1165" y="2159"/>
                </a:lnTo>
                <a:lnTo>
                  <a:pt x="1134" y="2148"/>
                </a:lnTo>
                <a:lnTo>
                  <a:pt x="1104" y="2131"/>
                </a:lnTo>
                <a:lnTo>
                  <a:pt x="1073" y="2107"/>
                </a:lnTo>
                <a:lnTo>
                  <a:pt x="1043" y="2078"/>
                </a:lnTo>
                <a:lnTo>
                  <a:pt x="1014" y="2043"/>
                </a:lnTo>
                <a:lnTo>
                  <a:pt x="985" y="2003"/>
                </a:lnTo>
                <a:lnTo>
                  <a:pt x="957" y="1959"/>
                </a:lnTo>
                <a:lnTo>
                  <a:pt x="928" y="1912"/>
                </a:lnTo>
                <a:lnTo>
                  <a:pt x="899" y="1861"/>
                </a:lnTo>
                <a:lnTo>
                  <a:pt x="870" y="1807"/>
                </a:lnTo>
                <a:lnTo>
                  <a:pt x="841" y="1750"/>
                </a:lnTo>
                <a:lnTo>
                  <a:pt x="811" y="1690"/>
                </a:lnTo>
                <a:lnTo>
                  <a:pt x="780" y="1631"/>
                </a:lnTo>
                <a:lnTo>
                  <a:pt x="729" y="1527"/>
                </a:lnTo>
                <a:lnTo>
                  <a:pt x="675" y="1423"/>
                </a:lnTo>
                <a:lnTo>
                  <a:pt x="719" y="1515"/>
                </a:lnTo>
                <a:lnTo>
                  <a:pt x="761" y="1609"/>
                </a:lnTo>
                <a:lnTo>
                  <a:pt x="805" y="1703"/>
                </a:lnTo>
                <a:lnTo>
                  <a:pt x="832" y="1765"/>
                </a:lnTo>
                <a:lnTo>
                  <a:pt x="860" y="1826"/>
                </a:lnTo>
                <a:lnTo>
                  <a:pt x="887" y="1885"/>
                </a:lnTo>
                <a:lnTo>
                  <a:pt x="915" y="1942"/>
                </a:lnTo>
                <a:lnTo>
                  <a:pt x="942" y="1997"/>
                </a:lnTo>
                <a:lnTo>
                  <a:pt x="968" y="2049"/>
                </a:lnTo>
                <a:lnTo>
                  <a:pt x="996" y="2097"/>
                </a:lnTo>
                <a:lnTo>
                  <a:pt x="1023" y="2142"/>
                </a:lnTo>
                <a:lnTo>
                  <a:pt x="1050" y="2181"/>
                </a:lnTo>
                <a:lnTo>
                  <a:pt x="1078" y="2216"/>
                </a:lnTo>
                <a:lnTo>
                  <a:pt x="1106" y="2245"/>
                </a:lnTo>
                <a:lnTo>
                  <a:pt x="1134" y="2268"/>
                </a:lnTo>
                <a:lnTo>
                  <a:pt x="1162" y="2284"/>
                </a:lnTo>
                <a:lnTo>
                  <a:pt x="1190" y="2294"/>
                </a:lnTo>
                <a:lnTo>
                  <a:pt x="1218" y="2295"/>
                </a:lnTo>
                <a:lnTo>
                  <a:pt x="1253" y="2290"/>
                </a:lnTo>
                <a:lnTo>
                  <a:pt x="1286" y="2278"/>
                </a:lnTo>
                <a:lnTo>
                  <a:pt x="1317" y="2262"/>
                </a:lnTo>
                <a:lnTo>
                  <a:pt x="1345" y="2240"/>
                </a:lnTo>
                <a:lnTo>
                  <a:pt x="1372" y="2215"/>
                </a:lnTo>
                <a:lnTo>
                  <a:pt x="1397" y="2184"/>
                </a:lnTo>
                <a:lnTo>
                  <a:pt x="1420" y="2150"/>
                </a:lnTo>
                <a:lnTo>
                  <a:pt x="1441" y="2110"/>
                </a:lnTo>
                <a:lnTo>
                  <a:pt x="1463" y="2069"/>
                </a:lnTo>
                <a:lnTo>
                  <a:pt x="1482" y="2023"/>
                </a:lnTo>
                <a:lnTo>
                  <a:pt x="1501" y="1975"/>
                </a:lnTo>
                <a:lnTo>
                  <a:pt x="1518" y="1923"/>
                </a:lnTo>
                <a:lnTo>
                  <a:pt x="1535" y="1871"/>
                </a:lnTo>
                <a:lnTo>
                  <a:pt x="1552" y="1815"/>
                </a:lnTo>
                <a:lnTo>
                  <a:pt x="1569" y="1758"/>
                </a:lnTo>
                <a:lnTo>
                  <a:pt x="1586" y="1698"/>
                </a:lnTo>
                <a:lnTo>
                  <a:pt x="1602" y="1639"/>
                </a:lnTo>
                <a:lnTo>
                  <a:pt x="1624" y="1560"/>
                </a:lnTo>
                <a:lnTo>
                  <a:pt x="1646" y="1482"/>
                </a:lnTo>
                <a:lnTo>
                  <a:pt x="1669" y="1403"/>
                </a:lnTo>
                <a:lnTo>
                  <a:pt x="1695" y="1323"/>
                </a:lnTo>
                <a:lnTo>
                  <a:pt x="1722" y="1245"/>
                </a:lnTo>
                <a:lnTo>
                  <a:pt x="1751" y="1167"/>
                </a:lnTo>
                <a:lnTo>
                  <a:pt x="1784" y="1092"/>
                </a:lnTo>
                <a:lnTo>
                  <a:pt x="1818" y="1019"/>
                </a:lnTo>
                <a:lnTo>
                  <a:pt x="1857" y="950"/>
                </a:lnTo>
                <a:lnTo>
                  <a:pt x="1899" y="885"/>
                </a:lnTo>
                <a:lnTo>
                  <a:pt x="1943" y="828"/>
                </a:lnTo>
                <a:lnTo>
                  <a:pt x="1987" y="778"/>
                </a:lnTo>
                <a:lnTo>
                  <a:pt x="2030" y="735"/>
                </a:lnTo>
                <a:lnTo>
                  <a:pt x="2072" y="699"/>
                </a:lnTo>
                <a:lnTo>
                  <a:pt x="2113" y="670"/>
                </a:lnTo>
                <a:lnTo>
                  <a:pt x="2155" y="649"/>
                </a:lnTo>
                <a:lnTo>
                  <a:pt x="2195" y="634"/>
                </a:lnTo>
                <a:lnTo>
                  <a:pt x="2235" y="627"/>
                </a:lnTo>
                <a:lnTo>
                  <a:pt x="2274" y="626"/>
                </a:lnTo>
                <a:lnTo>
                  <a:pt x="2314" y="633"/>
                </a:lnTo>
                <a:lnTo>
                  <a:pt x="2350" y="647"/>
                </a:lnTo>
                <a:lnTo>
                  <a:pt x="2386" y="666"/>
                </a:lnTo>
                <a:lnTo>
                  <a:pt x="2422" y="690"/>
                </a:lnTo>
                <a:lnTo>
                  <a:pt x="2457" y="720"/>
                </a:lnTo>
                <a:lnTo>
                  <a:pt x="2490" y="755"/>
                </a:lnTo>
                <a:lnTo>
                  <a:pt x="2523" y="793"/>
                </a:lnTo>
                <a:lnTo>
                  <a:pt x="2555" y="837"/>
                </a:lnTo>
                <a:lnTo>
                  <a:pt x="2586" y="884"/>
                </a:lnTo>
                <a:lnTo>
                  <a:pt x="2618" y="933"/>
                </a:lnTo>
                <a:lnTo>
                  <a:pt x="2649" y="986"/>
                </a:lnTo>
                <a:lnTo>
                  <a:pt x="2679" y="1042"/>
                </a:lnTo>
                <a:lnTo>
                  <a:pt x="2710" y="1099"/>
                </a:lnTo>
                <a:lnTo>
                  <a:pt x="2741" y="1157"/>
                </a:lnTo>
                <a:lnTo>
                  <a:pt x="2771" y="1218"/>
                </a:lnTo>
                <a:lnTo>
                  <a:pt x="2801" y="1278"/>
                </a:lnTo>
                <a:lnTo>
                  <a:pt x="2844" y="1362"/>
                </a:lnTo>
                <a:lnTo>
                  <a:pt x="2886" y="1445"/>
                </a:lnTo>
                <a:lnTo>
                  <a:pt x="2930" y="1527"/>
                </a:lnTo>
                <a:lnTo>
                  <a:pt x="2974" y="1606"/>
                </a:lnTo>
                <a:lnTo>
                  <a:pt x="3020" y="1683"/>
                </a:lnTo>
                <a:lnTo>
                  <a:pt x="3066" y="1753"/>
                </a:lnTo>
                <a:lnTo>
                  <a:pt x="3024" y="1684"/>
                </a:lnTo>
                <a:lnTo>
                  <a:pt x="2981" y="1609"/>
                </a:lnTo>
                <a:lnTo>
                  <a:pt x="2941" y="1530"/>
                </a:lnTo>
                <a:lnTo>
                  <a:pt x="2901" y="1450"/>
                </a:lnTo>
                <a:lnTo>
                  <a:pt x="2861" y="1367"/>
                </a:lnTo>
                <a:lnTo>
                  <a:pt x="2823" y="1284"/>
                </a:lnTo>
                <a:lnTo>
                  <a:pt x="2785" y="1199"/>
                </a:lnTo>
                <a:lnTo>
                  <a:pt x="2756" y="1135"/>
                </a:lnTo>
                <a:lnTo>
                  <a:pt x="2728" y="1071"/>
                </a:lnTo>
                <a:lnTo>
                  <a:pt x="2699" y="1009"/>
                </a:lnTo>
                <a:lnTo>
                  <a:pt x="2671" y="949"/>
                </a:lnTo>
                <a:lnTo>
                  <a:pt x="2642" y="891"/>
                </a:lnTo>
                <a:lnTo>
                  <a:pt x="2613" y="835"/>
                </a:lnTo>
                <a:lnTo>
                  <a:pt x="2584" y="782"/>
                </a:lnTo>
                <a:lnTo>
                  <a:pt x="2554" y="732"/>
                </a:lnTo>
                <a:lnTo>
                  <a:pt x="2524" y="686"/>
                </a:lnTo>
                <a:lnTo>
                  <a:pt x="2494" y="644"/>
                </a:lnTo>
                <a:lnTo>
                  <a:pt x="2462" y="607"/>
                </a:lnTo>
                <a:lnTo>
                  <a:pt x="2431" y="576"/>
                </a:lnTo>
                <a:lnTo>
                  <a:pt x="2399" y="549"/>
                </a:lnTo>
                <a:lnTo>
                  <a:pt x="2365" y="528"/>
                </a:lnTo>
                <a:lnTo>
                  <a:pt x="2330" y="514"/>
                </a:lnTo>
                <a:lnTo>
                  <a:pt x="2296" y="506"/>
                </a:lnTo>
                <a:lnTo>
                  <a:pt x="2263" y="505"/>
                </a:lnTo>
                <a:close/>
                <a:moveTo>
                  <a:pt x="2290" y="350"/>
                </a:moveTo>
                <a:lnTo>
                  <a:pt x="2255" y="354"/>
                </a:lnTo>
                <a:lnTo>
                  <a:pt x="2220" y="365"/>
                </a:lnTo>
                <a:lnTo>
                  <a:pt x="2183" y="383"/>
                </a:lnTo>
                <a:lnTo>
                  <a:pt x="2145" y="408"/>
                </a:lnTo>
                <a:lnTo>
                  <a:pt x="2107" y="439"/>
                </a:lnTo>
                <a:lnTo>
                  <a:pt x="2066" y="477"/>
                </a:lnTo>
                <a:lnTo>
                  <a:pt x="2026" y="522"/>
                </a:lnTo>
                <a:lnTo>
                  <a:pt x="1987" y="571"/>
                </a:lnTo>
                <a:lnTo>
                  <a:pt x="1949" y="626"/>
                </a:lnTo>
                <a:lnTo>
                  <a:pt x="1914" y="686"/>
                </a:lnTo>
                <a:lnTo>
                  <a:pt x="1880" y="750"/>
                </a:lnTo>
                <a:lnTo>
                  <a:pt x="1847" y="817"/>
                </a:lnTo>
                <a:lnTo>
                  <a:pt x="1815" y="887"/>
                </a:lnTo>
                <a:lnTo>
                  <a:pt x="1785" y="960"/>
                </a:lnTo>
                <a:lnTo>
                  <a:pt x="1754" y="1034"/>
                </a:lnTo>
                <a:lnTo>
                  <a:pt x="1725" y="1110"/>
                </a:lnTo>
                <a:lnTo>
                  <a:pt x="1696" y="1186"/>
                </a:lnTo>
                <a:lnTo>
                  <a:pt x="1668" y="1263"/>
                </a:lnTo>
                <a:lnTo>
                  <a:pt x="1645" y="1327"/>
                </a:lnTo>
                <a:lnTo>
                  <a:pt x="1620" y="1391"/>
                </a:lnTo>
                <a:lnTo>
                  <a:pt x="1597" y="1454"/>
                </a:lnTo>
                <a:lnTo>
                  <a:pt x="1572" y="1516"/>
                </a:lnTo>
                <a:lnTo>
                  <a:pt x="1548" y="1575"/>
                </a:lnTo>
                <a:lnTo>
                  <a:pt x="1523" y="1631"/>
                </a:lnTo>
                <a:lnTo>
                  <a:pt x="1498" y="1686"/>
                </a:lnTo>
                <a:lnTo>
                  <a:pt x="1473" y="1736"/>
                </a:lnTo>
                <a:lnTo>
                  <a:pt x="1446" y="1784"/>
                </a:lnTo>
                <a:lnTo>
                  <a:pt x="1419" y="1828"/>
                </a:lnTo>
                <a:lnTo>
                  <a:pt x="1390" y="1868"/>
                </a:lnTo>
                <a:lnTo>
                  <a:pt x="1361" y="1903"/>
                </a:lnTo>
                <a:lnTo>
                  <a:pt x="1331" y="1933"/>
                </a:lnTo>
                <a:lnTo>
                  <a:pt x="1299" y="1958"/>
                </a:lnTo>
                <a:lnTo>
                  <a:pt x="1267" y="1977"/>
                </a:lnTo>
                <a:lnTo>
                  <a:pt x="1232" y="1989"/>
                </a:lnTo>
                <a:lnTo>
                  <a:pt x="1196" y="1996"/>
                </a:lnTo>
                <a:lnTo>
                  <a:pt x="1165" y="1995"/>
                </a:lnTo>
                <a:lnTo>
                  <a:pt x="1135" y="1988"/>
                </a:lnTo>
                <a:lnTo>
                  <a:pt x="1105" y="1975"/>
                </a:lnTo>
                <a:lnTo>
                  <a:pt x="1076" y="1956"/>
                </a:lnTo>
                <a:lnTo>
                  <a:pt x="1047" y="1931"/>
                </a:lnTo>
                <a:lnTo>
                  <a:pt x="1018" y="1902"/>
                </a:lnTo>
                <a:lnTo>
                  <a:pt x="990" y="1868"/>
                </a:lnTo>
                <a:lnTo>
                  <a:pt x="961" y="1830"/>
                </a:lnTo>
                <a:lnTo>
                  <a:pt x="933" y="1789"/>
                </a:lnTo>
                <a:lnTo>
                  <a:pt x="905" y="1744"/>
                </a:lnTo>
                <a:lnTo>
                  <a:pt x="876" y="1697"/>
                </a:lnTo>
                <a:lnTo>
                  <a:pt x="846" y="1647"/>
                </a:lnTo>
                <a:lnTo>
                  <a:pt x="817" y="1595"/>
                </a:lnTo>
                <a:lnTo>
                  <a:pt x="787" y="1543"/>
                </a:lnTo>
                <a:lnTo>
                  <a:pt x="738" y="1456"/>
                </a:lnTo>
                <a:lnTo>
                  <a:pt x="688" y="1370"/>
                </a:lnTo>
                <a:lnTo>
                  <a:pt x="636" y="1286"/>
                </a:lnTo>
                <a:lnTo>
                  <a:pt x="681" y="1364"/>
                </a:lnTo>
                <a:lnTo>
                  <a:pt x="725" y="1447"/>
                </a:lnTo>
                <a:lnTo>
                  <a:pt x="767" y="1531"/>
                </a:lnTo>
                <a:lnTo>
                  <a:pt x="810" y="1616"/>
                </a:lnTo>
                <a:lnTo>
                  <a:pt x="839" y="1674"/>
                </a:lnTo>
                <a:lnTo>
                  <a:pt x="867" y="1731"/>
                </a:lnTo>
                <a:lnTo>
                  <a:pt x="896" y="1786"/>
                </a:lnTo>
                <a:lnTo>
                  <a:pt x="924" y="1838"/>
                </a:lnTo>
                <a:lnTo>
                  <a:pt x="952" y="1889"/>
                </a:lnTo>
                <a:lnTo>
                  <a:pt x="980" y="1936"/>
                </a:lnTo>
                <a:lnTo>
                  <a:pt x="1007" y="1978"/>
                </a:lnTo>
                <a:lnTo>
                  <a:pt x="1035" y="2017"/>
                </a:lnTo>
                <a:lnTo>
                  <a:pt x="1065" y="2052"/>
                </a:lnTo>
                <a:lnTo>
                  <a:pt x="1092" y="2080"/>
                </a:lnTo>
                <a:lnTo>
                  <a:pt x="1120" y="2103"/>
                </a:lnTo>
                <a:lnTo>
                  <a:pt x="1148" y="2119"/>
                </a:lnTo>
                <a:lnTo>
                  <a:pt x="1177" y="2128"/>
                </a:lnTo>
                <a:lnTo>
                  <a:pt x="1207" y="2131"/>
                </a:lnTo>
                <a:lnTo>
                  <a:pt x="1240" y="2124"/>
                </a:lnTo>
                <a:lnTo>
                  <a:pt x="1271" y="2112"/>
                </a:lnTo>
                <a:lnTo>
                  <a:pt x="1303" y="2095"/>
                </a:lnTo>
                <a:lnTo>
                  <a:pt x="1331" y="2071"/>
                </a:lnTo>
                <a:lnTo>
                  <a:pt x="1359" y="2043"/>
                </a:lnTo>
                <a:lnTo>
                  <a:pt x="1384" y="2011"/>
                </a:lnTo>
                <a:lnTo>
                  <a:pt x="1409" y="1974"/>
                </a:lnTo>
                <a:lnTo>
                  <a:pt x="1434" y="1932"/>
                </a:lnTo>
                <a:lnTo>
                  <a:pt x="1456" y="1888"/>
                </a:lnTo>
                <a:lnTo>
                  <a:pt x="1478" y="1840"/>
                </a:lnTo>
                <a:lnTo>
                  <a:pt x="1499" y="1789"/>
                </a:lnTo>
                <a:lnTo>
                  <a:pt x="1520" y="1736"/>
                </a:lnTo>
                <a:lnTo>
                  <a:pt x="1541" y="1680"/>
                </a:lnTo>
                <a:lnTo>
                  <a:pt x="1560" y="1623"/>
                </a:lnTo>
                <a:lnTo>
                  <a:pt x="1580" y="1565"/>
                </a:lnTo>
                <a:lnTo>
                  <a:pt x="1600" y="1506"/>
                </a:lnTo>
                <a:lnTo>
                  <a:pt x="1619" y="1445"/>
                </a:lnTo>
                <a:lnTo>
                  <a:pt x="1644" y="1370"/>
                </a:lnTo>
                <a:lnTo>
                  <a:pt x="1668" y="1294"/>
                </a:lnTo>
                <a:lnTo>
                  <a:pt x="1694" y="1220"/>
                </a:lnTo>
                <a:lnTo>
                  <a:pt x="1720" y="1146"/>
                </a:lnTo>
                <a:lnTo>
                  <a:pt x="1748" y="1073"/>
                </a:lnTo>
                <a:lnTo>
                  <a:pt x="1777" y="1003"/>
                </a:lnTo>
                <a:lnTo>
                  <a:pt x="1807" y="934"/>
                </a:lnTo>
                <a:lnTo>
                  <a:pt x="1839" y="868"/>
                </a:lnTo>
                <a:lnTo>
                  <a:pt x="1874" y="807"/>
                </a:lnTo>
                <a:lnTo>
                  <a:pt x="1911" y="747"/>
                </a:lnTo>
                <a:lnTo>
                  <a:pt x="1950" y="694"/>
                </a:lnTo>
                <a:lnTo>
                  <a:pt x="1991" y="643"/>
                </a:lnTo>
                <a:lnTo>
                  <a:pt x="2032" y="599"/>
                </a:lnTo>
                <a:lnTo>
                  <a:pt x="2072" y="562"/>
                </a:lnTo>
                <a:lnTo>
                  <a:pt x="2111" y="531"/>
                </a:lnTo>
                <a:lnTo>
                  <a:pt x="2150" y="506"/>
                </a:lnTo>
                <a:lnTo>
                  <a:pt x="2188" y="490"/>
                </a:lnTo>
                <a:lnTo>
                  <a:pt x="2225" y="477"/>
                </a:lnTo>
                <a:lnTo>
                  <a:pt x="2263" y="473"/>
                </a:lnTo>
                <a:lnTo>
                  <a:pt x="2299" y="474"/>
                </a:lnTo>
                <a:lnTo>
                  <a:pt x="2338" y="482"/>
                </a:lnTo>
                <a:lnTo>
                  <a:pt x="2375" y="498"/>
                </a:lnTo>
                <a:lnTo>
                  <a:pt x="2411" y="519"/>
                </a:lnTo>
                <a:lnTo>
                  <a:pt x="2445" y="547"/>
                </a:lnTo>
                <a:lnTo>
                  <a:pt x="2479" y="579"/>
                </a:lnTo>
                <a:lnTo>
                  <a:pt x="2513" y="617"/>
                </a:lnTo>
                <a:lnTo>
                  <a:pt x="2545" y="660"/>
                </a:lnTo>
                <a:lnTo>
                  <a:pt x="2576" y="707"/>
                </a:lnTo>
                <a:lnTo>
                  <a:pt x="2606" y="759"/>
                </a:lnTo>
                <a:lnTo>
                  <a:pt x="2638" y="812"/>
                </a:lnTo>
                <a:lnTo>
                  <a:pt x="2667" y="869"/>
                </a:lnTo>
                <a:lnTo>
                  <a:pt x="2697" y="930"/>
                </a:lnTo>
                <a:lnTo>
                  <a:pt x="2726" y="991"/>
                </a:lnTo>
                <a:lnTo>
                  <a:pt x="2756" y="1055"/>
                </a:lnTo>
                <a:lnTo>
                  <a:pt x="2785" y="1120"/>
                </a:lnTo>
                <a:lnTo>
                  <a:pt x="2814" y="1186"/>
                </a:lnTo>
                <a:lnTo>
                  <a:pt x="2855" y="1275"/>
                </a:lnTo>
                <a:lnTo>
                  <a:pt x="2895" y="1363"/>
                </a:lnTo>
                <a:lnTo>
                  <a:pt x="2936" y="1450"/>
                </a:lnTo>
                <a:lnTo>
                  <a:pt x="2978" y="1534"/>
                </a:lnTo>
                <a:lnTo>
                  <a:pt x="3021" y="1615"/>
                </a:lnTo>
                <a:lnTo>
                  <a:pt x="3065" y="1691"/>
                </a:lnTo>
                <a:lnTo>
                  <a:pt x="3018" y="1604"/>
                </a:lnTo>
                <a:lnTo>
                  <a:pt x="2973" y="1511"/>
                </a:lnTo>
                <a:lnTo>
                  <a:pt x="2930" y="1414"/>
                </a:lnTo>
                <a:lnTo>
                  <a:pt x="2887" y="1314"/>
                </a:lnTo>
                <a:lnTo>
                  <a:pt x="2846" y="1212"/>
                </a:lnTo>
                <a:lnTo>
                  <a:pt x="2804" y="1109"/>
                </a:lnTo>
                <a:lnTo>
                  <a:pt x="2776" y="1040"/>
                </a:lnTo>
                <a:lnTo>
                  <a:pt x="2750" y="971"/>
                </a:lnTo>
                <a:lnTo>
                  <a:pt x="2722" y="904"/>
                </a:lnTo>
                <a:lnTo>
                  <a:pt x="2694" y="838"/>
                </a:lnTo>
                <a:lnTo>
                  <a:pt x="2666" y="775"/>
                </a:lnTo>
                <a:lnTo>
                  <a:pt x="2638" y="715"/>
                </a:lnTo>
                <a:lnTo>
                  <a:pt x="2610" y="657"/>
                </a:lnTo>
                <a:lnTo>
                  <a:pt x="2581" y="603"/>
                </a:lnTo>
                <a:lnTo>
                  <a:pt x="2552" y="554"/>
                </a:lnTo>
                <a:lnTo>
                  <a:pt x="2522" y="508"/>
                </a:lnTo>
                <a:lnTo>
                  <a:pt x="2491" y="467"/>
                </a:lnTo>
                <a:lnTo>
                  <a:pt x="2460" y="431"/>
                </a:lnTo>
                <a:lnTo>
                  <a:pt x="2428" y="402"/>
                </a:lnTo>
                <a:lnTo>
                  <a:pt x="2394" y="379"/>
                </a:lnTo>
                <a:lnTo>
                  <a:pt x="2359" y="362"/>
                </a:lnTo>
                <a:lnTo>
                  <a:pt x="2324" y="353"/>
                </a:lnTo>
                <a:lnTo>
                  <a:pt x="2290" y="350"/>
                </a:lnTo>
                <a:close/>
                <a:moveTo>
                  <a:pt x="2322" y="192"/>
                </a:moveTo>
                <a:lnTo>
                  <a:pt x="2290" y="194"/>
                </a:lnTo>
                <a:lnTo>
                  <a:pt x="2256" y="202"/>
                </a:lnTo>
                <a:lnTo>
                  <a:pt x="2223" y="216"/>
                </a:lnTo>
                <a:lnTo>
                  <a:pt x="2187" y="235"/>
                </a:lnTo>
                <a:lnTo>
                  <a:pt x="2151" y="261"/>
                </a:lnTo>
                <a:lnTo>
                  <a:pt x="2114" y="293"/>
                </a:lnTo>
                <a:lnTo>
                  <a:pt x="2076" y="331"/>
                </a:lnTo>
                <a:lnTo>
                  <a:pt x="2036" y="377"/>
                </a:lnTo>
                <a:lnTo>
                  <a:pt x="1997" y="429"/>
                </a:lnTo>
                <a:lnTo>
                  <a:pt x="1960" y="487"/>
                </a:lnTo>
                <a:lnTo>
                  <a:pt x="1923" y="551"/>
                </a:lnTo>
                <a:lnTo>
                  <a:pt x="1886" y="619"/>
                </a:lnTo>
                <a:lnTo>
                  <a:pt x="1852" y="690"/>
                </a:lnTo>
                <a:lnTo>
                  <a:pt x="1817" y="764"/>
                </a:lnTo>
                <a:lnTo>
                  <a:pt x="1784" y="841"/>
                </a:lnTo>
                <a:lnTo>
                  <a:pt x="1750" y="919"/>
                </a:lnTo>
                <a:lnTo>
                  <a:pt x="1716" y="998"/>
                </a:lnTo>
                <a:lnTo>
                  <a:pt x="1684" y="1078"/>
                </a:lnTo>
                <a:lnTo>
                  <a:pt x="1656" y="1144"/>
                </a:lnTo>
                <a:lnTo>
                  <a:pt x="1628" y="1210"/>
                </a:lnTo>
                <a:lnTo>
                  <a:pt x="1601" y="1274"/>
                </a:lnTo>
                <a:lnTo>
                  <a:pt x="1573" y="1338"/>
                </a:lnTo>
                <a:lnTo>
                  <a:pt x="1546" y="1398"/>
                </a:lnTo>
                <a:lnTo>
                  <a:pt x="1518" y="1456"/>
                </a:lnTo>
                <a:lnTo>
                  <a:pt x="1491" y="1512"/>
                </a:lnTo>
                <a:lnTo>
                  <a:pt x="1463" y="1565"/>
                </a:lnTo>
                <a:lnTo>
                  <a:pt x="1435" y="1613"/>
                </a:lnTo>
                <a:lnTo>
                  <a:pt x="1406" y="1659"/>
                </a:lnTo>
                <a:lnTo>
                  <a:pt x="1376" y="1699"/>
                </a:lnTo>
                <a:lnTo>
                  <a:pt x="1346" y="1735"/>
                </a:lnTo>
                <a:lnTo>
                  <a:pt x="1315" y="1767"/>
                </a:lnTo>
                <a:lnTo>
                  <a:pt x="1284" y="1791"/>
                </a:lnTo>
                <a:lnTo>
                  <a:pt x="1252" y="1811"/>
                </a:lnTo>
                <a:lnTo>
                  <a:pt x="1219" y="1824"/>
                </a:lnTo>
                <a:lnTo>
                  <a:pt x="1185" y="1830"/>
                </a:lnTo>
                <a:lnTo>
                  <a:pt x="1152" y="1830"/>
                </a:lnTo>
                <a:lnTo>
                  <a:pt x="1118" y="1821"/>
                </a:lnTo>
                <a:lnTo>
                  <a:pt x="1085" y="1806"/>
                </a:lnTo>
                <a:lnTo>
                  <a:pt x="1052" y="1784"/>
                </a:lnTo>
                <a:lnTo>
                  <a:pt x="1021" y="1758"/>
                </a:lnTo>
                <a:lnTo>
                  <a:pt x="988" y="1725"/>
                </a:lnTo>
                <a:lnTo>
                  <a:pt x="957" y="1687"/>
                </a:lnTo>
                <a:lnTo>
                  <a:pt x="925" y="1647"/>
                </a:lnTo>
                <a:lnTo>
                  <a:pt x="892" y="1602"/>
                </a:lnTo>
                <a:lnTo>
                  <a:pt x="860" y="1554"/>
                </a:lnTo>
                <a:lnTo>
                  <a:pt x="827" y="1503"/>
                </a:lnTo>
                <a:lnTo>
                  <a:pt x="794" y="1452"/>
                </a:lnTo>
                <a:lnTo>
                  <a:pt x="745" y="1377"/>
                </a:lnTo>
                <a:lnTo>
                  <a:pt x="693" y="1302"/>
                </a:lnTo>
                <a:lnTo>
                  <a:pt x="641" y="1229"/>
                </a:lnTo>
                <a:lnTo>
                  <a:pt x="587" y="1159"/>
                </a:lnTo>
                <a:lnTo>
                  <a:pt x="635" y="1228"/>
                </a:lnTo>
                <a:lnTo>
                  <a:pt x="682" y="1299"/>
                </a:lnTo>
                <a:lnTo>
                  <a:pt x="728" y="1375"/>
                </a:lnTo>
                <a:lnTo>
                  <a:pt x="773" y="1451"/>
                </a:lnTo>
                <a:lnTo>
                  <a:pt x="815" y="1527"/>
                </a:lnTo>
                <a:lnTo>
                  <a:pt x="845" y="1579"/>
                </a:lnTo>
                <a:lnTo>
                  <a:pt x="874" y="1631"/>
                </a:lnTo>
                <a:lnTo>
                  <a:pt x="903" y="1681"/>
                </a:lnTo>
                <a:lnTo>
                  <a:pt x="934" y="1730"/>
                </a:lnTo>
                <a:lnTo>
                  <a:pt x="963" y="1774"/>
                </a:lnTo>
                <a:lnTo>
                  <a:pt x="992" y="1817"/>
                </a:lnTo>
                <a:lnTo>
                  <a:pt x="1021" y="1854"/>
                </a:lnTo>
                <a:lnTo>
                  <a:pt x="1049" y="1888"/>
                </a:lnTo>
                <a:lnTo>
                  <a:pt x="1078" y="1916"/>
                </a:lnTo>
                <a:lnTo>
                  <a:pt x="1107" y="1938"/>
                </a:lnTo>
                <a:lnTo>
                  <a:pt x="1136" y="1954"/>
                </a:lnTo>
                <a:lnTo>
                  <a:pt x="1165" y="1963"/>
                </a:lnTo>
                <a:lnTo>
                  <a:pt x="1194" y="1965"/>
                </a:lnTo>
                <a:lnTo>
                  <a:pt x="1227" y="1958"/>
                </a:lnTo>
                <a:lnTo>
                  <a:pt x="1258" y="1946"/>
                </a:lnTo>
                <a:lnTo>
                  <a:pt x="1287" y="1928"/>
                </a:lnTo>
                <a:lnTo>
                  <a:pt x="1316" y="1903"/>
                </a:lnTo>
                <a:lnTo>
                  <a:pt x="1344" y="1874"/>
                </a:lnTo>
                <a:lnTo>
                  <a:pt x="1372" y="1840"/>
                </a:lnTo>
                <a:lnTo>
                  <a:pt x="1398" y="1802"/>
                </a:lnTo>
                <a:lnTo>
                  <a:pt x="1423" y="1759"/>
                </a:lnTo>
                <a:lnTo>
                  <a:pt x="1449" y="1713"/>
                </a:lnTo>
                <a:lnTo>
                  <a:pt x="1474" y="1663"/>
                </a:lnTo>
                <a:lnTo>
                  <a:pt x="1497" y="1611"/>
                </a:lnTo>
                <a:lnTo>
                  <a:pt x="1522" y="1555"/>
                </a:lnTo>
                <a:lnTo>
                  <a:pt x="1545" y="1498"/>
                </a:lnTo>
                <a:lnTo>
                  <a:pt x="1569" y="1438"/>
                </a:lnTo>
                <a:lnTo>
                  <a:pt x="1591" y="1377"/>
                </a:lnTo>
                <a:lnTo>
                  <a:pt x="1615" y="1315"/>
                </a:lnTo>
                <a:lnTo>
                  <a:pt x="1638" y="1251"/>
                </a:lnTo>
                <a:lnTo>
                  <a:pt x="1667" y="1174"/>
                </a:lnTo>
                <a:lnTo>
                  <a:pt x="1696" y="1097"/>
                </a:lnTo>
                <a:lnTo>
                  <a:pt x="1725" y="1021"/>
                </a:lnTo>
                <a:lnTo>
                  <a:pt x="1756" y="946"/>
                </a:lnTo>
                <a:lnTo>
                  <a:pt x="1787" y="872"/>
                </a:lnTo>
                <a:lnTo>
                  <a:pt x="1819" y="801"/>
                </a:lnTo>
                <a:lnTo>
                  <a:pt x="1852" y="733"/>
                </a:lnTo>
                <a:lnTo>
                  <a:pt x="1886" y="668"/>
                </a:lnTo>
                <a:lnTo>
                  <a:pt x="1923" y="607"/>
                </a:lnTo>
                <a:lnTo>
                  <a:pt x="1961" y="551"/>
                </a:lnTo>
                <a:lnTo>
                  <a:pt x="2002" y="501"/>
                </a:lnTo>
                <a:lnTo>
                  <a:pt x="2045" y="453"/>
                </a:lnTo>
                <a:lnTo>
                  <a:pt x="2089" y="412"/>
                </a:lnTo>
                <a:lnTo>
                  <a:pt x="2130" y="379"/>
                </a:lnTo>
                <a:lnTo>
                  <a:pt x="2172" y="353"/>
                </a:lnTo>
                <a:lnTo>
                  <a:pt x="2212" y="334"/>
                </a:lnTo>
                <a:lnTo>
                  <a:pt x="2252" y="323"/>
                </a:lnTo>
                <a:lnTo>
                  <a:pt x="2291" y="318"/>
                </a:lnTo>
                <a:lnTo>
                  <a:pt x="2329" y="321"/>
                </a:lnTo>
                <a:lnTo>
                  <a:pt x="2366" y="331"/>
                </a:lnTo>
                <a:lnTo>
                  <a:pt x="2401" y="346"/>
                </a:lnTo>
                <a:lnTo>
                  <a:pt x="2435" y="369"/>
                </a:lnTo>
                <a:lnTo>
                  <a:pt x="2468" y="396"/>
                </a:lnTo>
                <a:lnTo>
                  <a:pt x="2499" y="428"/>
                </a:lnTo>
                <a:lnTo>
                  <a:pt x="2530" y="466"/>
                </a:lnTo>
                <a:lnTo>
                  <a:pt x="2561" y="509"/>
                </a:lnTo>
                <a:lnTo>
                  <a:pt x="2590" y="555"/>
                </a:lnTo>
                <a:lnTo>
                  <a:pt x="2618" y="605"/>
                </a:lnTo>
                <a:lnTo>
                  <a:pt x="2647" y="659"/>
                </a:lnTo>
                <a:lnTo>
                  <a:pt x="2674" y="715"/>
                </a:lnTo>
                <a:lnTo>
                  <a:pt x="2700" y="774"/>
                </a:lnTo>
                <a:lnTo>
                  <a:pt x="2727" y="836"/>
                </a:lnTo>
                <a:lnTo>
                  <a:pt x="2754" y="899"/>
                </a:lnTo>
                <a:lnTo>
                  <a:pt x="2781" y="963"/>
                </a:lnTo>
                <a:lnTo>
                  <a:pt x="2808" y="1030"/>
                </a:lnTo>
                <a:lnTo>
                  <a:pt x="2835" y="1097"/>
                </a:lnTo>
                <a:lnTo>
                  <a:pt x="2876" y="1201"/>
                </a:lnTo>
                <a:lnTo>
                  <a:pt x="2917" y="1305"/>
                </a:lnTo>
                <a:lnTo>
                  <a:pt x="2961" y="1406"/>
                </a:lnTo>
                <a:lnTo>
                  <a:pt x="3005" y="1504"/>
                </a:lnTo>
                <a:lnTo>
                  <a:pt x="3050" y="1597"/>
                </a:lnTo>
                <a:lnTo>
                  <a:pt x="3010" y="1508"/>
                </a:lnTo>
                <a:lnTo>
                  <a:pt x="2971" y="1415"/>
                </a:lnTo>
                <a:lnTo>
                  <a:pt x="2933" y="1319"/>
                </a:lnTo>
                <a:lnTo>
                  <a:pt x="2896" y="1220"/>
                </a:lnTo>
                <a:lnTo>
                  <a:pt x="2860" y="1119"/>
                </a:lnTo>
                <a:lnTo>
                  <a:pt x="2825" y="1018"/>
                </a:lnTo>
                <a:lnTo>
                  <a:pt x="2799" y="948"/>
                </a:lnTo>
                <a:lnTo>
                  <a:pt x="2774" y="878"/>
                </a:lnTo>
                <a:lnTo>
                  <a:pt x="2750" y="810"/>
                </a:lnTo>
                <a:lnTo>
                  <a:pt x="2725" y="743"/>
                </a:lnTo>
                <a:lnTo>
                  <a:pt x="2699" y="678"/>
                </a:lnTo>
                <a:lnTo>
                  <a:pt x="2675" y="615"/>
                </a:lnTo>
                <a:lnTo>
                  <a:pt x="2649" y="556"/>
                </a:lnTo>
                <a:lnTo>
                  <a:pt x="2622" y="500"/>
                </a:lnTo>
                <a:lnTo>
                  <a:pt x="2596" y="446"/>
                </a:lnTo>
                <a:lnTo>
                  <a:pt x="2568" y="398"/>
                </a:lnTo>
                <a:lnTo>
                  <a:pt x="2541" y="353"/>
                </a:lnTo>
                <a:lnTo>
                  <a:pt x="2513" y="313"/>
                </a:lnTo>
                <a:lnTo>
                  <a:pt x="2482" y="278"/>
                </a:lnTo>
                <a:lnTo>
                  <a:pt x="2452" y="248"/>
                </a:lnTo>
                <a:lnTo>
                  <a:pt x="2421" y="224"/>
                </a:lnTo>
                <a:lnTo>
                  <a:pt x="2387" y="206"/>
                </a:lnTo>
                <a:lnTo>
                  <a:pt x="2354" y="196"/>
                </a:lnTo>
                <a:lnTo>
                  <a:pt x="2322" y="192"/>
                </a:lnTo>
                <a:close/>
                <a:moveTo>
                  <a:pt x="2353" y="33"/>
                </a:moveTo>
                <a:lnTo>
                  <a:pt x="2318" y="34"/>
                </a:lnTo>
                <a:lnTo>
                  <a:pt x="2282" y="42"/>
                </a:lnTo>
                <a:lnTo>
                  <a:pt x="2245" y="56"/>
                </a:lnTo>
                <a:lnTo>
                  <a:pt x="2207" y="78"/>
                </a:lnTo>
                <a:lnTo>
                  <a:pt x="2167" y="106"/>
                </a:lnTo>
                <a:lnTo>
                  <a:pt x="2127" y="140"/>
                </a:lnTo>
                <a:lnTo>
                  <a:pt x="2087" y="183"/>
                </a:lnTo>
                <a:lnTo>
                  <a:pt x="2046" y="233"/>
                </a:lnTo>
                <a:lnTo>
                  <a:pt x="2006" y="290"/>
                </a:lnTo>
                <a:lnTo>
                  <a:pt x="1967" y="353"/>
                </a:lnTo>
                <a:lnTo>
                  <a:pt x="1928" y="421"/>
                </a:lnTo>
                <a:lnTo>
                  <a:pt x="1889" y="494"/>
                </a:lnTo>
                <a:lnTo>
                  <a:pt x="1851" y="570"/>
                </a:lnTo>
                <a:lnTo>
                  <a:pt x="1813" y="649"/>
                </a:lnTo>
                <a:lnTo>
                  <a:pt x="1775" y="729"/>
                </a:lnTo>
                <a:lnTo>
                  <a:pt x="1737" y="811"/>
                </a:lnTo>
                <a:lnTo>
                  <a:pt x="1700" y="894"/>
                </a:lnTo>
                <a:lnTo>
                  <a:pt x="1666" y="966"/>
                </a:lnTo>
                <a:lnTo>
                  <a:pt x="1634" y="1037"/>
                </a:lnTo>
                <a:lnTo>
                  <a:pt x="1601" y="1108"/>
                </a:lnTo>
                <a:lnTo>
                  <a:pt x="1569" y="1175"/>
                </a:lnTo>
                <a:lnTo>
                  <a:pt x="1536" y="1241"/>
                </a:lnTo>
                <a:lnTo>
                  <a:pt x="1504" y="1304"/>
                </a:lnTo>
                <a:lnTo>
                  <a:pt x="1472" y="1363"/>
                </a:lnTo>
                <a:lnTo>
                  <a:pt x="1439" y="1418"/>
                </a:lnTo>
                <a:lnTo>
                  <a:pt x="1407" y="1470"/>
                </a:lnTo>
                <a:lnTo>
                  <a:pt x="1373" y="1516"/>
                </a:lnTo>
                <a:lnTo>
                  <a:pt x="1341" y="1557"/>
                </a:lnTo>
                <a:lnTo>
                  <a:pt x="1308" y="1592"/>
                </a:lnTo>
                <a:lnTo>
                  <a:pt x="1275" y="1621"/>
                </a:lnTo>
                <a:lnTo>
                  <a:pt x="1241" y="1643"/>
                </a:lnTo>
                <a:lnTo>
                  <a:pt x="1208" y="1658"/>
                </a:lnTo>
                <a:lnTo>
                  <a:pt x="1173" y="1666"/>
                </a:lnTo>
                <a:lnTo>
                  <a:pt x="1138" y="1665"/>
                </a:lnTo>
                <a:lnTo>
                  <a:pt x="1105" y="1657"/>
                </a:lnTo>
                <a:lnTo>
                  <a:pt x="1071" y="1642"/>
                </a:lnTo>
                <a:lnTo>
                  <a:pt x="1038" y="1622"/>
                </a:lnTo>
                <a:lnTo>
                  <a:pt x="1004" y="1595"/>
                </a:lnTo>
                <a:lnTo>
                  <a:pt x="972" y="1565"/>
                </a:lnTo>
                <a:lnTo>
                  <a:pt x="938" y="1530"/>
                </a:lnTo>
                <a:lnTo>
                  <a:pt x="905" y="1491"/>
                </a:lnTo>
                <a:lnTo>
                  <a:pt x="870" y="1450"/>
                </a:lnTo>
                <a:lnTo>
                  <a:pt x="835" y="1405"/>
                </a:lnTo>
                <a:lnTo>
                  <a:pt x="801" y="1359"/>
                </a:lnTo>
                <a:lnTo>
                  <a:pt x="753" y="1297"/>
                </a:lnTo>
                <a:lnTo>
                  <a:pt x="704" y="1237"/>
                </a:lnTo>
                <a:lnTo>
                  <a:pt x="654" y="1177"/>
                </a:lnTo>
                <a:lnTo>
                  <a:pt x="603" y="1121"/>
                </a:lnTo>
                <a:lnTo>
                  <a:pt x="549" y="1070"/>
                </a:lnTo>
                <a:lnTo>
                  <a:pt x="598" y="1124"/>
                </a:lnTo>
                <a:lnTo>
                  <a:pt x="645" y="1182"/>
                </a:lnTo>
                <a:lnTo>
                  <a:pt x="691" y="1242"/>
                </a:lnTo>
                <a:lnTo>
                  <a:pt x="736" y="1306"/>
                </a:lnTo>
                <a:lnTo>
                  <a:pt x="778" y="1370"/>
                </a:lnTo>
                <a:lnTo>
                  <a:pt x="821" y="1435"/>
                </a:lnTo>
                <a:lnTo>
                  <a:pt x="852" y="1482"/>
                </a:lnTo>
                <a:lnTo>
                  <a:pt x="882" y="1529"/>
                </a:lnTo>
                <a:lnTo>
                  <a:pt x="914" y="1574"/>
                </a:lnTo>
                <a:lnTo>
                  <a:pt x="944" y="1618"/>
                </a:lnTo>
                <a:lnTo>
                  <a:pt x="974" y="1657"/>
                </a:lnTo>
                <a:lnTo>
                  <a:pt x="1004" y="1693"/>
                </a:lnTo>
                <a:lnTo>
                  <a:pt x="1034" y="1725"/>
                </a:lnTo>
                <a:lnTo>
                  <a:pt x="1063" y="1752"/>
                </a:lnTo>
                <a:lnTo>
                  <a:pt x="1094" y="1773"/>
                </a:lnTo>
                <a:lnTo>
                  <a:pt x="1123" y="1789"/>
                </a:lnTo>
                <a:lnTo>
                  <a:pt x="1153" y="1798"/>
                </a:lnTo>
                <a:lnTo>
                  <a:pt x="1182" y="1799"/>
                </a:lnTo>
                <a:lnTo>
                  <a:pt x="1214" y="1792"/>
                </a:lnTo>
                <a:lnTo>
                  <a:pt x="1247" y="1778"/>
                </a:lnTo>
                <a:lnTo>
                  <a:pt x="1278" y="1756"/>
                </a:lnTo>
                <a:lnTo>
                  <a:pt x="1308" y="1730"/>
                </a:lnTo>
                <a:lnTo>
                  <a:pt x="1338" y="1696"/>
                </a:lnTo>
                <a:lnTo>
                  <a:pt x="1369" y="1657"/>
                </a:lnTo>
                <a:lnTo>
                  <a:pt x="1398" y="1613"/>
                </a:lnTo>
                <a:lnTo>
                  <a:pt x="1427" y="1565"/>
                </a:lnTo>
                <a:lnTo>
                  <a:pt x="1455" y="1512"/>
                </a:lnTo>
                <a:lnTo>
                  <a:pt x="1484" y="1455"/>
                </a:lnTo>
                <a:lnTo>
                  <a:pt x="1512" y="1396"/>
                </a:lnTo>
                <a:lnTo>
                  <a:pt x="1541" y="1333"/>
                </a:lnTo>
                <a:lnTo>
                  <a:pt x="1569" y="1269"/>
                </a:lnTo>
                <a:lnTo>
                  <a:pt x="1597" y="1202"/>
                </a:lnTo>
                <a:lnTo>
                  <a:pt x="1626" y="1134"/>
                </a:lnTo>
                <a:lnTo>
                  <a:pt x="1654" y="1065"/>
                </a:lnTo>
                <a:lnTo>
                  <a:pt x="1687" y="985"/>
                </a:lnTo>
                <a:lnTo>
                  <a:pt x="1721" y="905"/>
                </a:lnTo>
                <a:lnTo>
                  <a:pt x="1754" y="827"/>
                </a:lnTo>
                <a:lnTo>
                  <a:pt x="1789" y="748"/>
                </a:lnTo>
                <a:lnTo>
                  <a:pt x="1824" y="673"/>
                </a:lnTo>
                <a:lnTo>
                  <a:pt x="1860" y="602"/>
                </a:lnTo>
                <a:lnTo>
                  <a:pt x="1896" y="533"/>
                </a:lnTo>
                <a:lnTo>
                  <a:pt x="1933" y="468"/>
                </a:lnTo>
                <a:lnTo>
                  <a:pt x="1972" y="409"/>
                </a:lnTo>
                <a:lnTo>
                  <a:pt x="2012" y="355"/>
                </a:lnTo>
                <a:lnTo>
                  <a:pt x="2053" y="308"/>
                </a:lnTo>
                <a:lnTo>
                  <a:pt x="2094" y="268"/>
                </a:lnTo>
                <a:lnTo>
                  <a:pt x="2135" y="233"/>
                </a:lnTo>
                <a:lnTo>
                  <a:pt x="2175" y="206"/>
                </a:lnTo>
                <a:lnTo>
                  <a:pt x="2213" y="185"/>
                </a:lnTo>
                <a:lnTo>
                  <a:pt x="2251" y="170"/>
                </a:lnTo>
                <a:lnTo>
                  <a:pt x="2288" y="162"/>
                </a:lnTo>
                <a:lnTo>
                  <a:pt x="2325" y="160"/>
                </a:lnTo>
                <a:lnTo>
                  <a:pt x="2360" y="165"/>
                </a:lnTo>
                <a:lnTo>
                  <a:pt x="2397" y="176"/>
                </a:lnTo>
                <a:lnTo>
                  <a:pt x="2433" y="194"/>
                </a:lnTo>
                <a:lnTo>
                  <a:pt x="2467" y="219"/>
                </a:lnTo>
                <a:lnTo>
                  <a:pt x="2499" y="250"/>
                </a:lnTo>
                <a:lnTo>
                  <a:pt x="2530" y="286"/>
                </a:lnTo>
                <a:lnTo>
                  <a:pt x="2561" y="326"/>
                </a:lnTo>
                <a:lnTo>
                  <a:pt x="2591" y="372"/>
                </a:lnTo>
                <a:lnTo>
                  <a:pt x="2619" y="422"/>
                </a:lnTo>
                <a:lnTo>
                  <a:pt x="2647" y="477"/>
                </a:lnTo>
                <a:lnTo>
                  <a:pt x="2675" y="536"/>
                </a:lnTo>
                <a:lnTo>
                  <a:pt x="2700" y="596"/>
                </a:lnTo>
                <a:lnTo>
                  <a:pt x="2727" y="660"/>
                </a:lnTo>
                <a:lnTo>
                  <a:pt x="2753" y="726"/>
                </a:lnTo>
                <a:lnTo>
                  <a:pt x="2779" y="794"/>
                </a:lnTo>
                <a:lnTo>
                  <a:pt x="2803" y="865"/>
                </a:lnTo>
                <a:lnTo>
                  <a:pt x="2829" y="935"/>
                </a:lnTo>
                <a:lnTo>
                  <a:pt x="2855" y="1008"/>
                </a:lnTo>
                <a:lnTo>
                  <a:pt x="2893" y="1116"/>
                </a:lnTo>
                <a:lnTo>
                  <a:pt x="2932" y="1223"/>
                </a:lnTo>
                <a:lnTo>
                  <a:pt x="2971" y="1329"/>
                </a:lnTo>
                <a:lnTo>
                  <a:pt x="3011" y="1432"/>
                </a:lnTo>
                <a:lnTo>
                  <a:pt x="3054" y="1529"/>
                </a:lnTo>
                <a:lnTo>
                  <a:pt x="3017" y="1437"/>
                </a:lnTo>
                <a:lnTo>
                  <a:pt x="2981" y="1341"/>
                </a:lnTo>
                <a:lnTo>
                  <a:pt x="2948" y="1241"/>
                </a:lnTo>
                <a:lnTo>
                  <a:pt x="2914" y="1139"/>
                </a:lnTo>
                <a:lnTo>
                  <a:pt x="2880" y="1036"/>
                </a:lnTo>
                <a:lnTo>
                  <a:pt x="2849" y="933"/>
                </a:lnTo>
                <a:lnTo>
                  <a:pt x="2825" y="857"/>
                </a:lnTo>
                <a:lnTo>
                  <a:pt x="2801" y="782"/>
                </a:lnTo>
                <a:lnTo>
                  <a:pt x="2778" y="708"/>
                </a:lnTo>
                <a:lnTo>
                  <a:pt x="2754" y="636"/>
                </a:lnTo>
                <a:lnTo>
                  <a:pt x="2731" y="567"/>
                </a:lnTo>
                <a:lnTo>
                  <a:pt x="2706" y="499"/>
                </a:lnTo>
                <a:lnTo>
                  <a:pt x="2681" y="435"/>
                </a:lnTo>
                <a:lnTo>
                  <a:pt x="2656" y="373"/>
                </a:lnTo>
                <a:lnTo>
                  <a:pt x="2630" y="316"/>
                </a:lnTo>
                <a:lnTo>
                  <a:pt x="2603" y="262"/>
                </a:lnTo>
                <a:lnTo>
                  <a:pt x="2575" y="214"/>
                </a:lnTo>
                <a:lnTo>
                  <a:pt x="2547" y="170"/>
                </a:lnTo>
                <a:lnTo>
                  <a:pt x="2517" y="131"/>
                </a:lnTo>
                <a:lnTo>
                  <a:pt x="2487" y="99"/>
                </a:lnTo>
                <a:lnTo>
                  <a:pt x="2454" y="72"/>
                </a:lnTo>
                <a:lnTo>
                  <a:pt x="2422" y="52"/>
                </a:lnTo>
                <a:lnTo>
                  <a:pt x="2387" y="38"/>
                </a:lnTo>
                <a:lnTo>
                  <a:pt x="2353" y="33"/>
                </a:lnTo>
                <a:close/>
                <a:moveTo>
                  <a:pt x="2327" y="0"/>
                </a:moveTo>
                <a:lnTo>
                  <a:pt x="2362" y="1"/>
                </a:lnTo>
                <a:lnTo>
                  <a:pt x="2395" y="8"/>
                </a:lnTo>
                <a:lnTo>
                  <a:pt x="2431" y="20"/>
                </a:lnTo>
                <a:lnTo>
                  <a:pt x="2464" y="41"/>
                </a:lnTo>
                <a:lnTo>
                  <a:pt x="2497" y="65"/>
                </a:lnTo>
                <a:lnTo>
                  <a:pt x="2528" y="97"/>
                </a:lnTo>
                <a:lnTo>
                  <a:pt x="2558" y="132"/>
                </a:lnTo>
                <a:lnTo>
                  <a:pt x="2587" y="174"/>
                </a:lnTo>
                <a:lnTo>
                  <a:pt x="2615" y="219"/>
                </a:lnTo>
                <a:lnTo>
                  <a:pt x="2642" y="269"/>
                </a:lnTo>
                <a:lnTo>
                  <a:pt x="2668" y="323"/>
                </a:lnTo>
                <a:lnTo>
                  <a:pt x="2693" y="380"/>
                </a:lnTo>
                <a:lnTo>
                  <a:pt x="2717" y="440"/>
                </a:lnTo>
                <a:lnTo>
                  <a:pt x="2742" y="503"/>
                </a:lnTo>
                <a:lnTo>
                  <a:pt x="2765" y="569"/>
                </a:lnTo>
                <a:lnTo>
                  <a:pt x="2788" y="636"/>
                </a:lnTo>
                <a:lnTo>
                  <a:pt x="2811" y="707"/>
                </a:lnTo>
                <a:lnTo>
                  <a:pt x="2833" y="778"/>
                </a:lnTo>
                <a:lnTo>
                  <a:pt x="2857" y="850"/>
                </a:lnTo>
                <a:lnTo>
                  <a:pt x="2879" y="923"/>
                </a:lnTo>
                <a:lnTo>
                  <a:pt x="2903" y="999"/>
                </a:lnTo>
                <a:lnTo>
                  <a:pt x="2926" y="1075"/>
                </a:lnTo>
                <a:lnTo>
                  <a:pt x="2951" y="1151"/>
                </a:lnTo>
                <a:lnTo>
                  <a:pt x="2975" y="1226"/>
                </a:lnTo>
                <a:lnTo>
                  <a:pt x="3000" y="1298"/>
                </a:lnTo>
                <a:lnTo>
                  <a:pt x="3026" y="1370"/>
                </a:lnTo>
                <a:lnTo>
                  <a:pt x="3053" y="1441"/>
                </a:lnTo>
                <a:lnTo>
                  <a:pt x="3079" y="1508"/>
                </a:lnTo>
                <a:lnTo>
                  <a:pt x="3107" y="1573"/>
                </a:lnTo>
                <a:lnTo>
                  <a:pt x="3137" y="1634"/>
                </a:lnTo>
                <a:lnTo>
                  <a:pt x="3167" y="1693"/>
                </a:lnTo>
                <a:lnTo>
                  <a:pt x="3198" y="1747"/>
                </a:lnTo>
                <a:lnTo>
                  <a:pt x="3230" y="1797"/>
                </a:lnTo>
                <a:lnTo>
                  <a:pt x="3265" y="1843"/>
                </a:lnTo>
                <a:lnTo>
                  <a:pt x="3301" y="1884"/>
                </a:lnTo>
                <a:lnTo>
                  <a:pt x="3338" y="1919"/>
                </a:lnTo>
                <a:lnTo>
                  <a:pt x="3377" y="1949"/>
                </a:lnTo>
                <a:lnTo>
                  <a:pt x="3417" y="1973"/>
                </a:lnTo>
                <a:lnTo>
                  <a:pt x="3457" y="1988"/>
                </a:lnTo>
                <a:lnTo>
                  <a:pt x="3498" y="1998"/>
                </a:lnTo>
                <a:lnTo>
                  <a:pt x="3539" y="2003"/>
                </a:lnTo>
                <a:lnTo>
                  <a:pt x="3582" y="2001"/>
                </a:lnTo>
                <a:lnTo>
                  <a:pt x="3626" y="1993"/>
                </a:lnTo>
                <a:lnTo>
                  <a:pt x="3671" y="1978"/>
                </a:lnTo>
                <a:lnTo>
                  <a:pt x="3677" y="1994"/>
                </a:lnTo>
                <a:lnTo>
                  <a:pt x="3684" y="2007"/>
                </a:lnTo>
                <a:lnTo>
                  <a:pt x="3684" y="2007"/>
                </a:lnTo>
                <a:lnTo>
                  <a:pt x="3683" y="2008"/>
                </a:lnTo>
                <a:lnTo>
                  <a:pt x="3683" y="2008"/>
                </a:lnTo>
                <a:lnTo>
                  <a:pt x="3629" y="2035"/>
                </a:lnTo>
                <a:lnTo>
                  <a:pt x="3575" y="2054"/>
                </a:lnTo>
                <a:lnTo>
                  <a:pt x="3521" y="2066"/>
                </a:lnTo>
                <a:lnTo>
                  <a:pt x="3469" y="2069"/>
                </a:lnTo>
                <a:lnTo>
                  <a:pt x="3417" y="2066"/>
                </a:lnTo>
                <a:lnTo>
                  <a:pt x="3367" y="2054"/>
                </a:lnTo>
                <a:lnTo>
                  <a:pt x="3321" y="2036"/>
                </a:lnTo>
                <a:lnTo>
                  <a:pt x="3276" y="2013"/>
                </a:lnTo>
                <a:lnTo>
                  <a:pt x="3234" y="1984"/>
                </a:lnTo>
                <a:lnTo>
                  <a:pt x="3192" y="1950"/>
                </a:lnTo>
                <a:lnTo>
                  <a:pt x="3152" y="1911"/>
                </a:lnTo>
                <a:lnTo>
                  <a:pt x="3114" y="1868"/>
                </a:lnTo>
                <a:lnTo>
                  <a:pt x="3076" y="1821"/>
                </a:lnTo>
                <a:lnTo>
                  <a:pt x="3039" y="1771"/>
                </a:lnTo>
                <a:lnTo>
                  <a:pt x="3003" y="1717"/>
                </a:lnTo>
                <a:lnTo>
                  <a:pt x="2969" y="1661"/>
                </a:lnTo>
                <a:lnTo>
                  <a:pt x="2935" y="1603"/>
                </a:lnTo>
                <a:lnTo>
                  <a:pt x="2902" y="1543"/>
                </a:lnTo>
                <a:lnTo>
                  <a:pt x="2869" y="1481"/>
                </a:lnTo>
                <a:lnTo>
                  <a:pt x="2837" y="1419"/>
                </a:lnTo>
                <a:lnTo>
                  <a:pt x="2804" y="1355"/>
                </a:lnTo>
                <a:lnTo>
                  <a:pt x="2773" y="1293"/>
                </a:lnTo>
                <a:lnTo>
                  <a:pt x="2741" y="1229"/>
                </a:lnTo>
                <a:lnTo>
                  <a:pt x="2709" y="1167"/>
                </a:lnTo>
                <a:lnTo>
                  <a:pt x="2678" y="1107"/>
                </a:lnTo>
                <a:lnTo>
                  <a:pt x="2646" y="1047"/>
                </a:lnTo>
                <a:lnTo>
                  <a:pt x="2614" y="990"/>
                </a:lnTo>
                <a:lnTo>
                  <a:pt x="2582" y="937"/>
                </a:lnTo>
                <a:lnTo>
                  <a:pt x="2551" y="886"/>
                </a:lnTo>
                <a:lnTo>
                  <a:pt x="2518" y="840"/>
                </a:lnTo>
                <a:lnTo>
                  <a:pt x="2485" y="798"/>
                </a:lnTo>
                <a:lnTo>
                  <a:pt x="2451" y="760"/>
                </a:lnTo>
                <a:lnTo>
                  <a:pt x="2416" y="727"/>
                </a:lnTo>
                <a:lnTo>
                  <a:pt x="2382" y="700"/>
                </a:lnTo>
                <a:lnTo>
                  <a:pt x="2346" y="680"/>
                </a:lnTo>
                <a:lnTo>
                  <a:pt x="2309" y="666"/>
                </a:lnTo>
                <a:lnTo>
                  <a:pt x="2272" y="659"/>
                </a:lnTo>
                <a:lnTo>
                  <a:pt x="2236" y="659"/>
                </a:lnTo>
                <a:lnTo>
                  <a:pt x="2199" y="667"/>
                </a:lnTo>
                <a:lnTo>
                  <a:pt x="2163" y="680"/>
                </a:lnTo>
                <a:lnTo>
                  <a:pt x="2126" y="700"/>
                </a:lnTo>
                <a:lnTo>
                  <a:pt x="2087" y="727"/>
                </a:lnTo>
                <a:lnTo>
                  <a:pt x="2047" y="762"/>
                </a:lnTo>
                <a:lnTo>
                  <a:pt x="2007" y="802"/>
                </a:lnTo>
                <a:lnTo>
                  <a:pt x="1967" y="849"/>
                </a:lnTo>
                <a:lnTo>
                  <a:pt x="1924" y="904"/>
                </a:lnTo>
                <a:lnTo>
                  <a:pt x="1884" y="968"/>
                </a:lnTo>
                <a:lnTo>
                  <a:pt x="1846" y="1035"/>
                </a:lnTo>
                <a:lnTo>
                  <a:pt x="1811" y="1107"/>
                </a:lnTo>
                <a:lnTo>
                  <a:pt x="1780" y="1181"/>
                </a:lnTo>
                <a:lnTo>
                  <a:pt x="1751" y="1257"/>
                </a:lnTo>
                <a:lnTo>
                  <a:pt x="1724" y="1335"/>
                </a:lnTo>
                <a:lnTo>
                  <a:pt x="1700" y="1414"/>
                </a:lnTo>
                <a:lnTo>
                  <a:pt x="1676" y="1492"/>
                </a:lnTo>
                <a:lnTo>
                  <a:pt x="1655" y="1571"/>
                </a:lnTo>
                <a:lnTo>
                  <a:pt x="1634" y="1647"/>
                </a:lnTo>
                <a:lnTo>
                  <a:pt x="1617" y="1706"/>
                </a:lnTo>
                <a:lnTo>
                  <a:pt x="1601" y="1763"/>
                </a:lnTo>
                <a:lnTo>
                  <a:pt x="1584" y="1819"/>
                </a:lnTo>
                <a:lnTo>
                  <a:pt x="1568" y="1874"/>
                </a:lnTo>
                <a:lnTo>
                  <a:pt x="1551" y="1927"/>
                </a:lnTo>
                <a:lnTo>
                  <a:pt x="1533" y="1977"/>
                </a:lnTo>
                <a:lnTo>
                  <a:pt x="1515" y="2025"/>
                </a:lnTo>
                <a:lnTo>
                  <a:pt x="1496" y="2071"/>
                </a:lnTo>
                <a:lnTo>
                  <a:pt x="1476" y="2114"/>
                </a:lnTo>
                <a:lnTo>
                  <a:pt x="1455" y="2154"/>
                </a:lnTo>
                <a:lnTo>
                  <a:pt x="1432" y="2190"/>
                </a:lnTo>
                <a:lnTo>
                  <a:pt x="1408" y="2222"/>
                </a:lnTo>
                <a:lnTo>
                  <a:pt x="1382" y="2252"/>
                </a:lnTo>
                <a:lnTo>
                  <a:pt x="1354" y="2275"/>
                </a:lnTo>
                <a:lnTo>
                  <a:pt x="1324" y="2295"/>
                </a:lnTo>
                <a:lnTo>
                  <a:pt x="1292" y="2311"/>
                </a:lnTo>
                <a:lnTo>
                  <a:pt x="1258" y="2322"/>
                </a:lnTo>
                <a:lnTo>
                  <a:pt x="1221" y="2328"/>
                </a:lnTo>
                <a:lnTo>
                  <a:pt x="1215" y="2328"/>
                </a:lnTo>
                <a:lnTo>
                  <a:pt x="1210" y="2328"/>
                </a:lnTo>
                <a:lnTo>
                  <a:pt x="1179" y="2324"/>
                </a:lnTo>
                <a:lnTo>
                  <a:pt x="1147" y="2313"/>
                </a:lnTo>
                <a:lnTo>
                  <a:pt x="1117" y="2296"/>
                </a:lnTo>
                <a:lnTo>
                  <a:pt x="1087" y="2272"/>
                </a:lnTo>
                <a:lnTo>
                  <a:pt x="1058" y="2243"/>
                </a:lnTo>
                <a:lnTo>
                  <a:pt x="1030" y="2207"/>
                </a:lnTo>
                <a:lnTo>
                  <a:pt x="1001" y="2166"/>
                </a:lnTo>
                <a:lnTo>
                  <a:pt x="973" y="2122"/>
                </a:lnTo>
                <a:lnTo>
                  <a:pt x="945" y="2073"/>
                </a:lnTo>
                <a:lnTo>
                  <a:pt x="917" y="2021"/>
                </a:lnTo>
                <a:lnTo>
                  <a:pt x="889" y="1965"/>
                </a:lnTo>
                <a:lnTo>
                  <a:pt x="861" y="1905"/>
                </a:lnTo>
                <a:lnTo>
                  <a:pt x="833" y="1845"/>
                </a:lnTo>
                <a:lnTo>
                  <a:pt x="804" y="1781"/>
                </a:lnTo>
                <a:lnTo>
                  <a:pt x="775" y="1716"/>
                </a:lnTo>
                <a:lnTo>
                  <a:pt x="748" y="1655"/>
                </a:lnTo>
                <a:lnTo>
                  <a:pt x="720" y="1593"/>
                </a:lnTo>
                <a:lnTo>
                  <a:pt x="692" y="1531"/>
                </a:lnTo>
                <a:lnTo>
                  <a:pt x="663" y="1471"/>
                </a:lnTo>
                <a:lnTo>
                  <a:pt x="633" y="1410"/>
                </a:lnTo>
                <a:lnTo>
                  <a:pt x="603" y="1352"/>
                </a:lnTo>
                <a:lnTo>
                  <a:pt x="573" y="1296"/>
                </a:lnTo>
                <a:lnTo>
                  <a:pt x="541" y="1243"/>
                </a:lnTo>
                <a:lnTo>
                  <a:pt x="509" y="1194"/>
                </a:lnTo>
                <a:lnTo>
                  <a:pt x="476" y="1147"/>
                </a:lnTo>
                <a:lnTo>
                  <a:pt x="443" y="1106"/>
                </a:lnTo>
                <a:lnTo>
                  <a:pt x="408" y="1070"/>
                </a:lnTo>
                <a:lnTo>
                  <a:pt x="373" y="1039"/>
                </a:lnTo>
                <a:lnTo>
                  <a:pt x="337" y="1014"/>
                </a:lnTo>
                <a:lnTo>
                  <a:pt x="301" y="995"/>
                </a:lnTo>
                <a:lnTo>
                  <a:pt x="263" y="984"/>
                </a:lnTo>
                <a:lnTo>
                  <a:pt x="229" y="980"/>
                </a:lnTo>
                <a:lnTo>
                  <a:pt x="196" y="981"/>
                </a:lnTo>
                <a:lnTo>
                  <a:pt x="162" y="989"/>
                </a:lnTo>
                <a:lnTo>
                  <a:pt x="127" y="1003"/>
                </a:lnTo>
                <a:lnTo>
                  <a:pt x="93" y="1023"/>
                </a:lnTo>
                <a:lnTo>
                  <a:pt x="58" y="1047"/>
                </a:lnTo>
                <a:lnTo>
                  <a:pt x="22" y="1079"/>
                </a:lnTo>
                <a:lnTo>
                  <a:pt x="0" y="1055"/>
                </a:lnTo>
                <a:lnTo>
                  <a:pt x="0" y="1055"/>
                </a:lnTo>
                <a:lnTo>
                  <a:pt x="4" y="1052"/>
                </a:lnTo>
                <a:lnTo>
                  <a:pt x="9" y="1049"/>
                </a:lnTo>
                <a:lnTo>
                  <a:pt x="0" y="1039"/>
                </a:lnTo>
                <a:lnTo>
                  <a:pt x="4" y="1035"/>
                </a:lnTo>
                <a:lnTo>
                  <a:pt x="9" y="1032"/>
                </a:lnTo>
                <a:lnTo>
                  <a:pt x="1" y="1022"/>
                </a:lnTo>
                <a:lnTo>
                  <a:pt x="6" y="1018"/>
                </a:lnTo>
                <a:lnTo>
                  <a:pt x="9" y="1016"/>
                </a:lnTo>
                <a:lnTo>
                  <a:pt x="2" y="1005"/>
                </a:lnTo>
                <a:lnTo>
                  <a:pt x="10" y="999"/>
                </a:lnTo>
                <a:lnTo>
                  <a:pt x="2" y="988"/>
                </a:lnTo>
                <a:lnTo>
                  <a:pt x="53" y="959"/>
                </a:lnTo>
                <a:lnTo>
                  <a:pt x="101" y="938"/>
                </a:lnTo>
                <a:lnTo>
                  <a:pt x="148" y="922"/>
                </a:lnTo>
                <a:lnTo>
                  <a:pt x="193" y="912"/>
                </a:lnTo>
                <a:lnTo>
                  <a:pt x="238" y="907"/>
                </a:lnTo>
                <a:lnTo>
                  <a:pt x="282" y="909"/>
                </a:lnTo>
                <a:lnTo>
                  <a:pt x="323" y="914"/>
                </a:lnTo>
                <a:lnTo>
                  <a:pt x="363" y="924"/>
                </a:lnTo>
                <a:lnTo>
                  <a:pt x="403" y="938"/>
                </a:lnTo>
                <a:lnTo>
                  <a:pt x="442" y="957"/>
                </a:lnTo>
                <a:lnTo>
                  <a:pt x="479" y="978"/>
                </a:lnTo>
                <a:lnTo>
                  <a:pt x="514" y="1003"/>
                </a:lnTo>
                <a:lnTo>
                  <a:pt x="549" y="1030"/>
                </a:lnTo>
                <a:lnTo>
                  <a:pt x="584" y="1059"/>
                </a:lnTo>
                <a:lnTo>
                  <a:pt x="617" y="1091"/>
                </a:lnTo>
                <a:lnTo>
                  <a:pt x="649" y="1124"/>
                </a:lnTo>
                <a:lnTo>
                  <a:pt x="680" y="1158"/>
                </a:lnTo>
                <a:lnTo>
                  <a:pt x="711" y="1194"/>
                </a:lnTo>
                <a:lnTo>
                  <a:pt x="740" y="1231"/>
                </a:lnTo>
                <a:lnTo>
                  <a:pt x="769" y="1267"/>
                </a:lnTo>
                <a:lnTo>
                  <a:pt x="798" y="1304"/>
                </a:lnTo>
                <a:lnTo>
                  <a:pt x="826" y="1340"/>
                </a:lnTo>
                <a:lnTo>
                  <a:pt x="859" y="1382"/>
                </a:lnTo>
                <a:lnTo>
                  <a:pt x="891" y="1423"/>
                </a:lnTo>
                <a:lnTo>
                  <a:pt x="923" y="1463"/>
                </a:lnTo>
                <a:lnTo>
                  <a:pt x="955" y="1500"/>
                </a:lnTo>
                <a:lnTo>
                  <a:pt x="986" y="1534"/>
                </a:lnTo>
                <a:lnTo>
                  <a:pt x="1018" y="1564"/>
                </a:lnTo>
                <a:lnTo>
                  <a:pt x="1049" y="1590"/>
                </a:lnTo>
                <a:lnTo>
                  <a:pt x="1079" y="1610"/>
                </a:lnTo>
                <a:lnTo>
                  <a:pt x="1109" y="1624"/>
                </a:lnTo>
                <a:lnTo>
                  <a:pt x="1141" y="1632"/>
                </a:lnTo>
                <a:lnTo>
                  <a:pt x="1171" y="1633"/>
                </a:lnTo>
                <a:lnTo>
                  <a:pt x="1201" y="1627"/>
                </a:lnTo>
                <a:lnTo>
                  <a:pt x="1232" y="1611"/>
                </a:lnTo>
                <a:lnTo>
                  <a:pt x="1264" y="1588"/>
                </a:lnTo>
                <a:lnTo>
                  <a:pt x="1295" y="1560"/>
                </a:lnTo>
                <a:lnTo>
                  <a:pt x="1326" y="1525"/>
                </a:lnTo>
                <a:lnTo>
                  <a:pt x="1357" y="1483"/>
                </a:lnTo>
                <a:lnTo>
                  <a:pt x="1389" y="1437"/>
                </a:lnTo>
                <a:lnTo>
                  <a:pt x="1420" y="1387"/>
                </a:lnTo>
                <a:lnTo>
                  <a:pt x="1451" y="1332"/>
                </a:lnTo>
                <a:lnTo>
                  <a:pt x="1483" y="1274"/>
                </a:lnTo>
                <a:lnTo>
                  <a:pt x="1514" y="1212"/>
                </a:lnTo>
                <a:lnTo>
                  <a:pt x="1545" y="1148"/>
                </a:lnTo>
                <a:lnTo>
                  <a:pt x="1577" y="1083"/>
                </a:lnTo>
                <a:lnTo>
                  <a:pt x="1608" y="1016"/>
                </a:lnTo>
                <a:lnTo>
                  <a:pt x="1639" y="948"/>
                </a:lnTo>
                <a:lnTo>
                  <a:pt x="1671" y="881"/>
                </a:lnTo>
                <a:lnTo>
                  <a:pt x="1707" y="798"/>
                </a:lnTo>
                <a:lnTo>
                  <a:pt x="1745" y="715"/>
                </a:lnTo>
                <a:lnTo>
                  <a:pt x="1785" y="633"/>
                </a:lnTo>
                <a:lnTo>
                  <a:pt x="1823" y="554"/>
                </a:lnTo>
                <a:lnTo>
                  <a:pt x="1862" y="476"/>
                </a:lnTo>
                <a:lnTo>
                  <a:pt x="1901" y="403"/>
                </a:lnTo>
                <a:lnTo>
                  <a:pt x="1941" y="334"/>
                </a:lnTo>
                <a:lnTo>
                  <a:pt x="1981" y="270"/>
                </a:lnTo>
                <a:lnTo>
                  <a:pt x="2022" y="212"/>
                </a:lnTo>
                <a:lnTo>
                  <a:pt x="2063" y="160"/>
                </a:lnTo>
                <a:lnTo>
                  <a:pt x="2104" y="117"/>
                </a:lnTo>
                <a:lnTo>
                  <a:pt x="2144" y="83"/>
                </a:lnTo>
                <a:lnTo>
                  <a:pt x="2183" y="55"/>
                </a:lnTo>
                <a:lnTo>
                  <a:pt x="2220" y="33"/>
                </a:lnTo>
                <a:lnTo>
                  <a:pt x="2256" y="16"/>
                </a:lnTo>
                <a:lnTo>
                  <a:pt x="2292" y="6"/>
                </a:lnTo>
                <a:lnTo>
                  <a:pt x="2327" y="0"/>
                </a:lnTo>
                <a:close/>
              </a:path>
            </a:pathLst>
          </a:custGeom>
          <a:solidFill>
            <a:srgbClr val="A8D7FE">
              <a:alpha val="26000"/>
            </a:srgbClr>
          </a:solidFill>
          <a:ln w="0">
            <a:noFill/>
            <a:prstDash val="solid"/>
            <a:round/>
            <a:headEnd/>
            <a:tailEnd/>
          </a:ln>
          <a:extLst/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95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147" name="Titl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</p:spPr>
        <p:txBody>
          <a:bodyPr/>
          <a:lstStyle/>
          <a:p>
            <a:r>
              <a:rPr lang="pl-PL" altLang="en-US" dirty="0" smtClean="0">
                <a:solidFill>
                  <a:srgbClr val="0166B6"/>
                </a:solidFill>
              </a:rPr>
              <a:t>Wdrażanie Programu "od Papierowej do Cyfrowej Polski" przynosi </a:t>
            </a:r>
            <a:r>
              <a:rPr lang="pl-PL" altLang="en-US" dirty="0" smtClean="0">
                <a:solidFill>
                  <a:srgbClr val="DC6E00"/>
                </a:solidFill>
              </a:rPr>
              <a:t>wymierne korzyści dla obywateli i przedsiębiorców</a:t>
            </a:r>
          </a:p>
        </p:txBody>
      </p:sp>
      <p:sp>
        <p:nvSpPr>
          <p:cNvPr id="49" name="BoxHeader"/>
          <p:cNvSpPr>
            <a:spLocks noChangeArrowheads="1"/>
          </p:cNvSpPr>
          <p:nvPr/>
        </p:nvSpPr>
        <p:spPr bwMode="gray">
          <a:xfrm>
            <a:off x="2019323" y="1935924"/>
            <a:ext cx="3336336" cy="858000"/>
          </a:xfrm>
          <a:prstGeom prst="rect">
            <a:avLst/>
          </a:prstGeom>
          <a:gradFill flip="none" rotWithShape="1">
            <a:gsLst>
              <a:gs pos="0">
                <a:srgbClr val="F0F0F0"/>
              </a:gs>
              <a:gs pos="100000">
                <a:srgbClr val="F0F0F0">
                  <a:alpha val="4000"/>
                </a:srgbClr>
              </a:gs>
            </a:gsLst>
            <a:lin ang="0" scaled="1"/>
            <a:tileRect/>
          </a:gradFill>
          <a:ln>
            <a:noFill/>
          </a:ln>
          <a:extLst/>
        </p:spPr>
        <p:txBody>
          <a:bodyPr lIns="936000" tIns="132080" bIns="132080" anchor="ctr"/>
          <a:lstStyle/>
          <a:p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ygodne załatwianie </a:t>
            </a:r>
            <a:b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praw urzędowych</a:t>
            </a:r>
            <a:endParaRPr lang="en-US" altLang="en-US" sz="1733" b="1" dirty="0">
              <a:solidFill>
                <a:srgbClr val="0166B6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0" name="BoxHeader"/>
          <p:cNvSpPr>
            <a:spLocks noChangeArrowheads="1"/>
          </p:cNvSpPr>
          <p:nvPr/>
        </p:nvSpPr>
        <p:spPr bwMode="gray">
          <a:xfrm>
            <a:off x="812777" y="3340080"/>
            <a:ext cx="3343173" cy="858000"/>
          </a:xfrm>
          <a:prstGeom prst="rect">
            <a:avLst/>
          </a:prstGeom>
          <a:gradFill flip="none" rotWithShape="1">
            <a:gsLst>
              <a:gs pos="0">
                <a:srgbClr val="F0F0F0"/>
              </a:gs>
              <a:gs pos="100000">
                <a:srgbClr val="F0F0F0">
                  <a:alpha val="4000"/>
                </a:srgbClr>
              </a:gs>
            </a:gsLst>
            <a:lin ang="0" scaled="1"/>
            <a:tileRect/>
          </a:gradFill>
          <a:ln>
            <a:noFill/>
          </a:ln>
          <a:extLst/>
        </p:spPr>
        <p:txBody>
          <a:bodyPr lIns="936000" tIns="132080" bIns="13208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  <a:t>Szybsze i tańsze procesy</a:t>
            </a:r>
            <a:b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</a:br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  <a:t>administracyjne</a:t>
            </a:r>
            <a:endParaRPr lang="en-US" altLang="en-US" sz="1733" b="1" dirty="0">
              <a:solidFill>
                <a:srgbClr val="0166B6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BoxHeader"/>
          <p:cNvSpPr>
            <a:spLocks noChangeArrowheads="1"/>
          </p:cNvSpPr>
          <p:nvPr/>
        </p:nvSpPr>
        <p:spPr bwMode="gray">
          <a:xfrm>
            <a:off x="5432252" y="2638002"/>
            <a:ext cx="3343173" cy="858000"/>
          </a:xfrm>
          <a:prstGeom prst="rect">
            <a:avLst/>
          </a:prstGeom>
          <a:gradFill flip="none" rotWithShape="1">
            <a:gsLst>
              <a:gs pos="0">
                <a:srgbClr val="F0F0F0"/>
              </a:gs>
              <a:gs pos="100000">
                <a:srgbClr val="F0F0F0">
                  <a:alpha val="4000"/>
                </a:srgbClr>
              </a:gs>
            </a:gsLst>
            <a:lin ang="0" scaled="1"/>
            <a:tileRect/>
          </a:gradFill>
          <a:ln>
            <a:noFill/>
          </a:ln>
          <a:extLst/>
        </p:spPr>
        <p:txBody>
          <a:bodyPr lIns="936000" tIns="132080" bIns="13208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  <a:t>Zwiększenie wpływów </a:t>
            </a:r>
            <a:b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</a:br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  <a:t>podatkowych</a:t>
            </a:r>
            <a:endParaRPr lang="en-US" altLang="en-US" sz="1733" b="1" dirty="0">
              <a:solidFill>
                <a:srgbClr val="0166B6"/>
              </a:solidFill>
              <a:latin typeface="Calibri" panose="020F0502020204030204" pitchFamily="34" charset="0"/>
            </a:endParaRPr>
          </a:p>
        </p:txBody>
      </p:sp>
      <p:sp>
        <p:nvSpPr>
          <p:cNvPr id="52" name="BoxHeader"/>
          <p:cNvSpPr>
            <a:spLocks noChangeArrowheads="1"/>
          </p:cNvSpPr>
          <p:nvPr/>
        </p:nvSpPr>
        <p:spPr bwMode="gray">
          <a:xfrm>
            <a:off x="2762994" y="4755243"/>
            <a:ext cx="3343173" cy="858000"/>
          </a:xfrm>
          <a:prstGeom prst="rect">
            <a:avLst/>
          </a:prstGeom>
          <a:gradFill flip="none" rotWithShape="1">
            <a:gsLst>
              <a:gs pos="0">
                <a:srgbClr val="F0F0F0"/>
              </a:gs>
              <a:gs pos="100000">
                <a:srgbClr val="F0F0F0">
                  <a:alpha val="4000"/>
                </a:srgbClr>
              </a:gs>
            </a:gsLst>
            <a:lin ang="0" scaled="1"/>
            <a:tileRect/>
          </a:gradFill>
          <a:ln>
            <a:noFill/>
          </a:ln>
          <a:extLst/>
        </p:spPr>
        <p:txBody>
          <a:bodyPr lIns="936000" tIns="132080" bIns="13208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  <a:t>Zmniejszenie szarej </a:t>
            </a:r>
            <a:b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</a:br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  <a:t>strefy w gospodarce</a:t>
            </a:r>
            <a:endParaRPr lang="en-US" altLang="en-US" sz="1733" b="1" dirty="0">
              <a:solidFill>
                <a:srgbClr val="0166B6"/>
              </a:solidFill>
              <a:latin typeface="Calibri" panose="020F0502020204030204" pitchFamily="34" charset="0"/>
            </a:endParaRPr>
          </a:p>
        </p:txBody>
      </p:sp>
      <p:sp>
        <p:nvSpPr>
          <p:cNvPr id="53" name="BoxHeader"/>
          <p:cNvSpPr>
            <a:spLocks noChangeArrowheads="1"/>
          </p:cNvSpPr>
          <p:nvPr/>
        </p:nvSpPr>
        <p:spPr bwMode="gray">
          <a:xfrm>
            <a:off x="6602382" y="4042253"/>
            <a:ext cx="3343173" cy="858000"/>
          </a:xfrm>
          <a:prstGeom prst="rect">
            <a:avLst/>
          </a:prstGeom>
          <a:gradFill flip="none" rotWithShape="1">
            <a:gsLst>
              <a:gs pos="0">
                <a:srgbClr val="F0F0F0"/>
              </a:gs>
              <a:gs pos="100000">
                <a:srgbClr val="F0F0F0">
                  <a:alpha val="4000"/>
                </a:srgbClr>
              </a:gs>
            </a:gsLst>
            <a:lin ang="0" scaled="1"/>
            <a:tileRect/>
          </a:gradFill>
          <a:ln>
            <a:noFill/>
          </a:ln>
          <a:extLst/>
        </p:spPr>
        <p:txBody>
          <a:bodyPr lIns="936000" tIns="132080" bIns="13208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  <a:t>Nowoczesny </a:t>
            </a:r>
            <a:b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</a:br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  <a:t>wizerunek państwa</a:t>
            </a:r>
            <a:endParaRPr lang="en-US" altLang="en-US" sz="1733" b="1" dirty="0">
              <a:solidFill>
                <a:srgbClr val="0166B6"/>
              </a:solidFill>
              <a:latin typeface="Calibri" panose="020F0502020204030204" pitchFamily="34" charset="0"/>
            </a:endParaRPr>
          </a:p>
        </p:txBody>
      </p:sp>
      <p:pic>
        <p:nvPicPr>
          <p:cNvPr id="54" name="Picture 53"/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94" r="10894"/>
          <a:stretch/>
        </p:blipFill>
        <p:spPr>
          <a:xfrm>
            <a:off x="1737682" y="1935924"/>
            <a:ext cx="1006293" cy="858000"/>
          </a:xfrm>
          <a:prstGeom prst="hexagon">
            <a:avLst/>
          </a:prstGeom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5" name="Picture 54"/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589" y="3340080"/>
            <a:ext cx="1006293" cy="858000"/>
          </a:xfrm>
          <a:prstGeom prst="hexagon">
            <a:avLst/>
          </a:prstGeom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6" name="Picture 55"/>
          <p:cNvPicPr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5" r="6065"/>
          <a:stretch/>
        </p:blipFill>
        <p:spPr>
          <a:xfrm>
            <a:off x="5170063" y="2638002"/>
            <a:ext cx="1006293" cy="858000"/>
          </a:xfrm>
          <a:prstGeom prst="hexagon">
            <a:avLst/>
          </a:prstGeom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7" name="Picture 56"/>
          <p:cNvPicPr>
            <a:picLocks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94" r="10894"/>
          <a:stretch/>
        </p:blipFill>
        <p:spPr>
          <a:xfrm>
            <a:off x="2500806" y="4755243"/>
            <a:ext cx="1006293" cy="858000"/>
          </a:xfrm>
          <a:prstGeom prst="hexagon">
            <a:avLst/>
          </a:prstGeom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8" name="Picture 57"/>
          <p:cNvPicPr>
            <a:picLocks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94" r="10894"/>
          <a:stretch/>
        </p:blipFill>
        <p:spPr>
          <a:xfrm>
            <a:off x="6340193" y="4042253"/>
            <a:ext cx="1006293" cy="858000"/>
          </a:xfrm>
          <a:prstGeom prst="hexagon">
            <a:avLst/>
          </a:prstGeom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126498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5313123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19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zy biznesowi: Rafał Sowiński (ILiM), </a:t>
            </a:r>
            <a:b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pl-PL" sz="1517" i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ogusław Śliwczyński (ILiM)</a:t>
            </a: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y: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ominik Wójcicki (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PiT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pl-PL" sz="1517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 smtClean="0">
                <a:solidFill>
                  <a:srgbClr val="0166B6"/>
                </a:solidFill>
              </a:rPr>
              <a:t>Strumień</a:t>
            </a:r>
            <a:r>
              <a:rPr lang="pl-PL" altLang="pl-PL" dirty="0" smtClean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e-Faktura i e-Paragon </a:t>
            </a:r>
            <a:r>
              <a:rPr lang="pl-PL" altLang="pl-PL" dirty="0" smtClean="0">
                <a:solidFill>
                  <a:srgbClr val="0166B6"/>
                </a:solidFill>
              </a:rPr>
              <a:t>realizuje inicjatywy cyfryzujące obieg dokumentów w zamówieniach publicznych i handlu</a:t>
            </a:r>
          </a:p>
        </p:txBody>
      </p:sp>
      <p:sp>
        <p:nvSpPr>
          <p:cNvPr id="52" name="FlowTriangle"/>
          <p:cNvSpPr>
            <a:spLocks noChangeArrowheads="1"/>
          </p:cNvSpPr>
          <p:nvPr/>
        </p:nvSpPr>
        <p:spPr bwMode="gray">
          <a:xfrm rot="5400000">
            <a:off x="4122663" y="4273847"/>
            <a:ext cx="1738709" cy="234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84419" tIns="42210" rIns="84419" bIns="42210" anchor="ctr"/>
          <a:lstStyle/>
          <a:p>
            <a:pPr algn="ctr">
              <a:defRPr/>
            </a:pPr>
            <a:endParaRPr lang="pl-PL" sz="13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22" name="Text Placeholder 2"/>
          <p:cNvSpPr txBox="1">
            <a:spLocks/>
          </p:cNvSpPr>
          <p:nvPr/>
        </p:nvSpPr>
        <p:spPr bwMode="auto">
          <a:xfrm>
            <a:off x="5202371" y="3140968"/>
            <a:ext cx="4287440" cy="1783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500" tIns="11700" rIns="19500" bIns="11700">
            <a:spAutoFit/>
          </a:bodyPr>
          <a:lstStyle/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b="1" dirty="0">
              <a:latin typeface="Calibri" pitchFamily="34" charset="0"/>
            </a:endParaRP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b="1" dirty="0">
              <a:latin typeface="Calibri" pitchFamily="34" charset="0"/>
            </a:endParaRP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latin typeface="Calibri" pitchFamily="34" charset="0"/>
              </a:rPr>
              <a:t>Przystąpienie Polski do </a:t>
            </a:r>
            <a:r>
              <a:rPr lang="pl-PL" altLang="pl-PL" sz="1300" dirty="0">
                <a:latin typeface="Calibri" pitchFamily="34" charset="0"/>
              </a:rPr>
              <a:t>transgranicznego systemu UE wymiany e-faktur i e-dokumentów </a:t>
            </a:r>
            <a:r>
              <a:rPr lang="pl-PL" altLang="pl-PL" sz="1300" b="1" dirty="0">
                <a:latin typeface="Calibri" pitchFamily="34" charset="0"/>
              </a:rPr>
              <a:t>OpenPEPPOL</a:t>
            </a: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Wypracowanie </a:t>
            </a:r>
            <a:r>
              <a:rPr lang="pl-PL" altLang="pl-PL" sz="1300" b="1" dirty="0">
                <a:latin typeface="Calibri" pitchFamily="34" charset="0"/>
              </a:rPr>
              <a:t>korzyści dla </a:t>
            </a:r>
            <a:r>
              <a:rPr lang="pl-PL" altLang="pl-PL" sz="1300" b="1" dirty="0" smtClean="0">
                <a:latin typeface="Calibri" pitchFamily="34" charset="0"/>
              </a:rPr>
              <a:t>uczestników </a:t>
            </a:r>
            <a:r>
              <a:rPr lang="pl-PL" altLang="pl-PL" sz="1300" b="1" dirty="0" err="1">
                <a:latin typeface="Calibri" pitchFamily="34" charset="0"/>
              </a:rPr>
              <a:t>eParagonu</a:t>
            </a:r>
            <a:r>
              <a:rPr lang="pl-PL" altLang="pl-PL" sz="1300" b="1" dirty="0">
                <a:latin typeface="Calibri" pitchFamily="34" charset="0"/>
              </a:rPr>
              <a:t> </a:t>
            </a:r>
            <a:r>
              <a:rPr lang="pl-PL" altLang="pl-PL" sz="1300" dirty="0">
                <a:latin typeface="Calibri" pitchFamily="34" charset="0"/>
              </a:rPr>
              <a:t>(klient, </a:t>
            </a:r>
            <a:r>
              <a:rPr lang="pl-PL" altLang="pl-PL" sz="1300" dirty="0" err="1">
                <a:latin typeface="Calibri" pitchFamily="34" charset="0"/>
              </a:rPr>
              <a:t>merchant</a:t>
            </a:r>
            <a:r>
              <a:rPr lang="pl-PL" altLang="pl-PL" sz="1300" dirty="0">
                <a:latin typeface="Calibri" pitchFamily="34" charset="0"/>
              </a:rPr>
              <a:t>, Bank, </a:t>
            </a:r>
            <a:r>
              <a:rPr lang="pl-PL" altLang="pl-PL" sz="1300" dirty="0" smtClean="0">
                <a:latin typeface="Calibri" pitchFamily="34" charset="0"/>
              </a:rPr>
              <a:t>etc.)</a:t>
            </a:r>
            <a:r>
              <a:rPr lang="pl-PL" altLang="pl-PL" sz="1300" b="1" dirty="0" smtClean="0">
                <a:latin typeface="Calibri" pitchFamily="34" charset="0"/>
              </a:rPr>
              <a:t> </a:t>
            </a: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Wybór partnerów do </a:t>
            </a:r>
            <a:r>
              <a:rPr lang="pl-PL" altLang="pl-PL" sz="1300" b="1" dirty="0">
                <a:latin typeface="Calibri" pitchFamily="34" charset="0"/>
              </a:rPr>
              <a:t>projektu Pilot e-Paragon </a:t>
            </a: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357156" y="3008171"/>
            <a:ext cx="2702708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6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1583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b="1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Wdrożenie przepisów  o e-fakturowaniu  </a:t>
            </a:r>
            <a:b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</a:b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w zamówieniach publicznych</a:t>
            </a:r>
          </a:p>
          <a:p>
            <a:pPr marL="312992" lvl="1" indent="-189171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Wdrożenie e-fakturowania B2A oraz B2B </a:t>
            </a:r>
          </a:p>
          <a:p>
            <a:pPr marL="312992" lvl="1" indent="-189171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Utworzenie</a:t>
            </a: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 klastrów i inkubatorów e-fakturowania </a:t>
            </a:r>
          </a:p>
          <a:p>
            <a:pPr marL="312992" lvl="1" indent="-189171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Utworzenie i wdrożenie </a:t>
            </a: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systemu e-paragonów</a:t>
            </a:r>
          </a:p>
        </p:txBody>
      </p:sp>
      <p:grpSp>
        <p:nvGrpSpPr>
          <p:cNvPr id="19" name="Group 148"/>
          <p:cNvGrpSpPr>
            <a:grpSpLocks noChangeAspect="1"/>
          </p:cNvGrpSpPr>
          <p:nvPr/>
        </p:nvGrpSpPr>
        <p:grpSpPr bwMode="auto">
          <a:xfrm>
            <a:off x="771586" y="1926929"/>
            <a:ext cx="584691" cy="703355"/>
            <a:chOff x="5748" y="2786"/>
            <a:chExt cx="202" cy="243"/>
          </a:xfrm>
        </p:grpSpPr>
        <p:sp>
          <p:nvSpPr>
            <p:cNvPr id="20" name="Freeform 150"/>
            <p:cNvSpPr>
              <a:spLocks noEditPoints="1"/>
            </p:cNvSpPr>
            <p:nvPr/>
          </p:nvSpPr>
          <p:spPr bwMode="auto">
            <a:xfrm>
              <a:off x="5748" y="2786"/>
              <a:ext cx="202" cy="243"/>
            </a:xfrm>
            <a:custGeom>
              <a:avLst/>
              <a:gdLst>
                <a:gd name="T0" fmla="*/ 0 w 2742"/>
                <a:gd name="T1" fmla="*/ 0 h 3361"/>
                <a:gd name="T2" fmla="*/ 0 w 2742"/>
                <a:gd name="T3" fmla="*/ 0 h 3361"/>
                <a:gd name="T4" fmla="*/ 0 w 2742"/>
                <a:gd name="T5" fmla="*/ 0 h 3361"/>
                <a:gd name="T6" fmla="*/ 0 w 2742"/>
                <a:gd name="T7" fmla="*/ 0 h 3361"/>
                <a:gd name="T8" fmla="*/ 0 w 2742"/>
                <a:gd name="T9" fmla="*/ 0 h 3361"/>
                <a:gd name="T10" fmla="*/ 0 w 2742"/>
                <a:gd name="T11" fmla="*/ 0 h 3361"/>
                <a:gd name="T12" fmla="*/ 0 w 2742"/>
                <a:gd name="T13" fmla="*/ 0 h 3361"/>
                <a:gd name="T14" fmla="*/ 0 w 2742"/>
                <a:gd name="T15" fmla="*/ 0 h 3361"/>
                <a:gd name="T16" fmla="*/ 0 w 2742"/>
                <a:gd name="T17" fmla="*/ 0 h 3361"/>
                <a:gd name="T18" fmla="*/ 0 w 2742"/>
                <a:gd name="T19" fmla="*/ 0 h 3361"/>
                <a:gd name="T20" fmla="*/ 0 w 2742"/>
                <a:gd name="T21" fmla="*/ 0 h 3361"/>
                <a:gd name="T22" fmla="*/ 0 w 2742"/>
                <a:gd name="T23" fmla="*/ 0 h 3361"/>
                <a:gd name="T24" fmla="*/ 0 w 2742"/>
                <a:gd name="T25" fmla="*/ 0 h 3361"/>
                <a:gd name="T26" fmla="*/ 0 w 2742"/>
                <a:gd name="T27" fmla="*/ 0 h 3361"/>
                <a:gd name="T28" fmla="*/ 0 w 2742"/>
                <a:gd name="T29" fmla="*/ 0 h 3361"/>
                <a:gd name="T30" fmla="*/ 0 w 2742"/>
                <a:gd name="T31" fmla="*/ 0 h 3361"/>
                <a:gd name="T32" fmla="*/ 0 w 2742"/>
                <a:gd name="T33" fmla="*/ 0 h 3361"/>
                <a:gd name="T34" fmla="*/ 0 w 2742"/>
                <a:gd name="T35" fmla="*/ 0 h 3361"/>
                <a:gd name="T36" fmla="*/ 0 w 2742"/>
                <a:gd name="T37" fmla="*/ 0 h 3361"/>
                <a:gd name="T38" fmla="*/ 0 w 2742"/>
                <a:gd name="T39" fmla="*/ 0 h 3361"/>
                <a:gd name="T40" fmla="*/ 0 w 2742"/>
                <a:gd name="T41" fmla="*/ 0 h 3361"/>
                <a:gd name="T42" fmla="*/ 0 w 2742"/>
                <a:gd name="T43" fmla="*/ 0 h 3361"/>
                <a:gd name="T44" fmla="*/ 0 w 2742"/>
                <a:gd name="T45" fmla="*/ 0 h 3361"/>
                <a:gd name="T46" fmla="*/ 0 w 2742"/>
                <a:gd name="T47" fmla="*/ 0 h 3361"/>
                <a:gd name="T48" fmla="*/ 0 w 2742"/>
                <a:gd name="T49" fmla="*/ 0 h 3361"/>
                <a:gd name="T50" fmla="*/ 0 w 2742"/>
                <a:gd name="T51" fmla="*/ 0 h 3361"/>
                <a:gd name="T52" fmla="*/ 0 w 2742"/>
                <a:gd name="T53" fmla="*/ 0 h 3361"/>
                <a:gd name="T54" fmla="*/ 0 w 2742"/>
                <a:gd name="T55" fmla="*/ 0 h 3361"/>
                <a:gd name="T56" fmla="*/ 0 w 2742"/>
                <a:gd name="T57" fmla="*/ 0 h 3361"/>
                <a:gd name="T58" fmla="*/ 0 w 2742"/>
                <a:gd name="T59" fmla="*/ 0 h 3361"/>
                <a:gd name="T60" fmla="*/ 0 w 2742"/>
                <a:gd name="T61" fmla="*/ 0 h 3361"/>
                <a:gd name="T62" fmla="*/ 0 w 2742"/>
                <a:gd name="T63" fmla="*/ 0 h 3361"/>
                <a:gd name="T64" fmla="*/ 0 w 2742"/>
                <a:gd name="T65" fmla="*/ 0 h 3361"/>
                <a:gd name="T66" fmla="*/ 0 w 2742"/>
                <a:gd name="T67" fmla="*/ 0 h 3361"/>
                <a:gd name="T68" fmla="*/ 0 w 2742"/>
                <a:gd name="T69" fmla="*/ 0 h 3361"/>
                <a:gd name="T70" fmla="*/ 0 w 2742"/>
                <a:gd name="T71" fmla="*/ 0 h 3361"/>
                <a:gd name="T72" fmla="*/ 0 w 2742"/>
                <a:gd name="T73" fmla="*/ 0 h 3361"/>
                <a:gd name="T74" fmla="*/ 0 w 2742"/>
                <a:gd name="T75" fmla="*/ 0 h 3361"/>
                <a:gd name="T76" fmla="*/ 0 w 2742"/>
                <a:gd name="T77" fmla="*/ 0 h 3361"/>
                <a:gd name="T78" fmla="*/ 0 w 2742"/>
                <a:gd name="T79" fmla="*/ 0 h 3361"/>
                <a:gd name="T80" fmla="*/ 0 w 2742"/>
                <a:gd name="T81" fmla="*/ 0 h 3361"/>
                <a:gd name="T82" fmla="*/ 0 w 2742"/>
                <a:gd name="T83" fmla="*/ 0 h 3361"/>
                <a:gd name="T84" fmla="*/ 0 w 2742"/>
                <a:gd name="T85" fmla="*/ 0 h 3361"/>
                <a:gd name="T86" fmla="*/ 0 w 2742"/>
                <a:gd name="T87" fmla="*/ 0 h 3361"/>
                <a:gd name="T88" fmla="*/ 0 w 2742"/>
                <a:gd name="T89" fmla="*/ 0 h 3361"/>
                <a:gd name="T90" fmla="*/ 0 w 2742"/>
                <a:gd name="T91" fmla="*/ 0 h 3361"/>
                <a:gd name="T92" fmla="*/ 0 w 2742"/>
                <a:gd name="T93" fmla="*/ 0 h 3361"/>
                <a:gd name="T94" fmla="*/ 0 w 2742"/>
                <a:gd name="T95" fmla="*/ 0 h 3361"/>
                <a:gd name="T96" fmla="*/ 0 w 2742"/>
                <a:gd name="T97" fmla="*/ 0 h 3361"/>
                <a:gd name="T98" fmla="*/ 0 w 2742"/>
                <a:gd name="T99" fmla="*/ 0 h 3361"/>
                <a:gd name="T100" fmla="*/ 0 w 2742"/>
                <a:gd name="T101" fmla="*/ 0 h 3361"/>
                <a:gd name="T102" fmla="*/ 0 w 2742"/>
                <a:gd name="T103" fmla="*/ 0 h 3361"/>
                <a:gd name="T104" fmla="*/ 0 w 2742"/>
                <a:gd name="T105" fmla="*/ 0 h 3361"/>
                <a:gd name="T106" fmla="*/ 0 w 2742"/>
                <a:gd name="T107" fmla="*/ 0 h 3361"/>
                <a:gd name="T108" fmla="*/ 0 w 2742"/>
                <a:gd name="T109" fmla="*/ 0 h 3361"/>
                <a:gd name="T110" fmla="*/ 0 w 2742"/>
                <a:gd name="T111" fmla="*/ 0 h 3361"/>
                <a:gd name="T112" fmla="*/ 0 w 2742"/>
                <a:gd name="T113" fmla="*/ 0 h 3361"/>
                <a:gd name="T114" fmla="*/ 0 w 2742"/>
                <a:gd name="T115" fmla="*/ 0 h 3361"/>
                <a:gd name="T116" fmla="*/ 0 w 2742"/>
                <a:gd name="T117" fmla="*/ 0 h 33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742"/>
                <a:gd name="T178" fmla="*/ 0 h 3361"/>
                <a:gd name="T179" fmla="*/ 2742 w 2742"/>
                <a:gd name="T180" fmla="*/ 3361 h 33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742" h="3361">
                  <a:moveTo>
                    <a:pt x="239" y="727"/>
                  </a:moveTo>
                  <a:lnTo>
                    <a:pt x="225" y="729"/>
                  </a:lnTo>
                  <a:lnTo>
                    <a:pt x="215" y="736"/>
                  </a:lnTo>
                  <a:lnTo>
                    <a:pt x="207" y="747"/>
                  </a:lnTo>
                  <a:lnTo>
                    <a:pt x="205" y="761"/>
                  </a:lnTo>
                  <a:lnTo>
                    <a:pt x="205" y="3123"/>
                  </a:lnTo>
                  <a:lnTo>
                    <a:pt x="207" y="3136"/>
                  </a:lnTo>
                  <a:lnTo>
                    <a:pt x="215" y="3147"/>
                  </a:lnTo>
                  <a:lnTo>
                    <a:pt x="225" y="3154"/>
                  </a:lnTo>
                  <a:lnTo>
                    <a:pt x="239" y="3157"/>
                  </a:lnTo>
                  <a:lnTo>
                    <a:pt x="2040" y="3157"/>
                  </a:lnTo>
                  <a:lnTo>
                    <a:pt x="2054" y="3154"/>
                  </a:lnTo>
                  <a:lnTo>
                    <a:pt x="2064" y="3147"/>
                  </a:lnTo>
                  <a:lnTo>
                    <a:pt x="2071" y="3136"/>
                  </a:lnTo>
                  <a:lnTo>
                    <a:pt x="2074" y="3123"/>
                  </a:lnTo>
                  <a:lnTo>
                    <a:pt x="2074" y="761"/>
                  </a:lnTo>
                  <a:lnTo>
                    <a:pt x="2071" y="747"/>
                  </a:lnTo>
                  <a:lnTo>
                    <a:pt x="2064" y="736"/>
                  </a:lnTo>
                  <a:lnTo>
                    <a:pt x="2054" y="729"/>
                  </a:lnTo>
                  <a:lnTo>
                    <a:pt x="2040" y="727"/>
                  </a:lnTo>
                  <a:lnTo>
                    <a:pt x="239" y="727"/>
                  </a:lnTo>
                  <a:close/>
                  <a:moveTo>
                    <a:pt x="702" y="204"/>
                  </a:moveTo>
                  <a:lnTo>
                    <a:pt x="688" y="207"/>
                  </a:lnTo>
                  <a:lnTo>
                    <a:pt x="678" y="214"/>
                  </a:lnTo>
                  <a:lnTo>
                    <a:pt x="671" y="225"/>
                  </a:lnTo>
                  <a:lnTo>
                    <a:pt x="668" y="238"/>
                  </a:lnTo>
                  <a:lnTo>
                    <a:pt x="668" y="523"/>
                  </a:lnTo>
                  <a:lnTo>
                    <a:pt x="2040" y="523"/>
                  </a:lnTo>
                  <a:lnTo>
                    <a:pt x="2078" y="526"/>
                  </a:lnTo>
                  <a:lnTo>
                    <a:pt x="2116" y="535"/>
                  </a:lnTo>
                  <a:lnTo>
                    <a:pt x="2150" y="549"/>
                  </a:lnTo>
                  <a:lnTo>
                    <a:pt x="2181" y="568"/>
                  </a:lnTo>
                  <a:lnTo>
                    <a:pt x="2209" y="592"/>
                  </a:lnTo>
                  <a:lnTo>
                    <a:pt x="2232" y="620"/>
                  </a:lnTo>
                  <a:lnTo>
                    <a:pt x="2252" y="651"/>
                  </a:lnTo>
                  <a:lnTo>
                    <a:pt x="2266" y="686"/>
                  </a:lnTo>
                  <a:lnTo>
                    <a:pt x="2276" y="722"/>
                  </a:lnTo>
                  <a:lnTo>
                    <a:pt x="2279" y="761"/>
                  </a:lnTo>
                  <a:lnTo>
                    <a:pt x="2279" y="2634"/>
                  </a:lnTo>
                  <a:lnTo>
                    <a:pt x="2503" y="2634"/>
                  </a:lnTo>
                  <a:lnTo>
                    <a:pt x="2517" y="2632"/>
                  </a:lnTo>
                  <a:lnTo>
                    <a:pt x="2528" y="2624"/>
                  </a:lnTo>
                  <a:lnTo>
                    <a:pt x="2535" y="2614"/>
                  </a:lnTo>
                  <a:lnTo>
                    <a:pt x="2537" y="2600"/>
                  </a:lnTo>
                  <a:lnTo>
                    <a:pt x="2537" y="238"/>
                  </a:lnTo>
                  <a:lnTo>
                    <a:pt x="2535" y="225"/>
                  </a:lnTo>
                  <a:lnTo>
                    <a:pt x="2528" y="214"/>
                  </a:lnTo>
                  <a:lnTo>
                    <a:pt x="2517" y="207"/>
                  </a:lnTo>
                  <a:lnTo>
                    <a:pt x="2503" y="204"/>
                  </a:lnTo>
                  <a:lnTo>
                    <a:pt x="702" y="204"/>
                  </a:lnTo>
                  <a:close/>
                  <a:moveTo>
                    <a:pt x="702" y="0"/>
                  </a:moveTo>
                  <a:lnTo>
                    <a:pt x="2503" y="0"/>
                  </a:lnTo>
                  <a:lnTo>
                    <a:pt x="2542" y="3"/>
                  </a:lnTo>
                  <a:lnTo>
                    <a:pt x="2579" y="13"/>
                  </a:lnTo>
                  <a:lnTo>
                    <a:pt x="2613" y="27"/>
                  </a:lnTo>
                  <a:lnTo>
                    <a:pt x="2645" y="47"/>
                  </a:lnTo>
                  <a:lnTo>
                    <a:pt x="2673" y="70"/>
                  </a:lnTo>
                  <a:lnTo>
                    <a:pt x="2696" y="98"/>
                  </a:lnTo>
                  <a:lnTo>
                    <a:pt x="2716" y="129"/>
                  </a:lnTo>
                  <a:lnTo>
                    <a:pt x="2731" y="163"/>
                  </a:lnTo>
                  <a:lnTo>
                    <a:pt x="2739" y="200"/>
                  </a:lnTo>
                  <a:lnTo>
                    <a:pt x="2742" y="238"/>
                  </a:lnTo>
                  <a:lnTo>
                    <a:pt x="2742" y="2600"/>
                  </a:lnTo>
                  <a:lnTo>
                    <a:pt x="2739" y="2639"/>
                  </a:lnTo>
                  <a:lnTo>
                    <a:pt x="2731" y="2675"/>
                  </a:lnTo>
                  <a:lnTo>
                    <a:pt x="2716" y="2709"/>
                  </a:lnTo>
                  <a:lnTo>
                    <a:pt x="2696" y="2741"/>
                  </a:lnTo>
                  <a:lnTo>
                    <a:pt x="2673" y="2768"/>
                  </a:lnTo>
                  <a:lnTo>
                    <a:pt x="2645" y="2792"/>
                  </a:lnTo>
                  <a:lnTo>
                    <a:pt x="2613" y="2811"/>
                  </a:lnTo>
                  <a:lnTo>
                    <a:pt x="2579" y="2825"/>
                  </a:lnTo>
                  <a:lnTo>
                    <a:pt x="2542" y="2835"/>
                  </a:lnTo>
                  <a:lnTo>
                    <a:pt x="2503" y="2838"/>
                  </a:lnTo>
                  <a:lnTo>
                    <a:pt x="2279" y="2838"/>
                  </a:lnTo>
                  <a:lnTo>
                    <a:pt x="2279" y="3123"/>
                  </a:lnTo>
                  <a:lnTo>
                    <a:pt x="2276" y="3161"/>
                  </a:lnTo>
                  <a:lnTo>
                    <a:pt x="2266" y="3197"/>
                  </a:lnTo>
                  <a:lnTo>
                    <a:pt x="2252" y="3232"/>
                  </a:lnTo>
                  <a:lnTo>
                    <a:pt x="2232" y="3263"/>
                  </a:lnTo>
                  <a:lnTo>
                    <a:pt x="2209" y="3291"/>
                  </a:lnTo>
                  <a:lnTo>
                    <a:pt x="2181" y="3314"/>
                  </a:lnTo>
                  <a:lnTo>
                    <a:pt x="2150" y="3334"/>
                  </a:lnTo>
                  <a:lnTo>
                    <a:pt x="2116" y="3348"/>
                  </a:lnTo>
                  <a:lnTo>
                    <a:pt x="2078" y="3356"/>
                  </a:lnTo>
                  <a:lnTo>
                    <a:pt x="2040" y="3361"/>
                  </a:lnTo>
                  <a:lnTo>
                    <a:pt x="239" y="3361"/>
                  </a:lnTo>
                  <a:lnTo>
                    <a:pt x="199" y="3356"/>
                  </a:lnTo>
                  <a:lnTo>
                    <a:pt x="163" y="3348"/>
                  </a:lnTo>
                  <a:lnTo>
                    <a:pt x="129" y="3334"/>
                  </a:lnTo>
                  <a:lnTo>
                    <a:pt x="97" y="3314"/>
                  </a:lnTo>
                  <a:lnTo>
                    <a:pt x="69" y="3291"/>
                  </a:lnTo>
                  <a:lnTo>
                    <a:pt x="45" y="3263"/>
                  </a:lnTo>
                  <a:lnTo>
                    <a:pt x="27" y="3232"/>
                  </a:lnTo>
                  <a:lnTo>
                    <a:pt x="12" y="3197"/>
                  </a:lnTo>
                  <a:lnTo>
                    <a:pt x="3" y="3161"/>
                  </a:lnTo>
                  <a:lnTo>
                    <a:pt x="0" y="3123"/>
                  </a:lnTo>
                  <a:lnTo>
                    <a:pt x="0" y="761"/>
                  </a:lnTo>
                  <a:lnTo>
                    <a:pt x="3" y="722"/>
                  </a:lnTo>
                  <a:lnTo>
                    <a:pt x="12" y="686"/>
                  </a:lnTo>
                  <a:lnTo>
                    <a:pt x="27" y="651"/>
                  </a:lnTo>
                  <a:lnTo>
                    <a:pt x="45" y="620"/>
                  </a:lnTo>
                  <a:lnTo>
                    <a:pt x="69" y="592"/>
                  </a:lnTo>
                  <a:lnTo>
                    <a:pt x="97" y="568"/>
                  </a:lnTo>
                  <a:lnTo>
                    <a:pt x="129" y="549"/>
                  </a:lnTo>
                  <a:lnTo>
                    <a:pt x="163" y="535"/>
                  </a:lnTo>
                  <a:lnTo>
                    <a:pt x="199" y="526"/>
                  </a:lnTo>
                  <a:lnTo>
                    <a:pt x="239" y="523"/>
                  </a:lnTo>
                  <a:lnTo>
                    <a:pt x="463" y="523"/>
                  </a:lnTo>
                  <a:lnTo>
                    <a:pt x="463" y="238"/>
                  </a:lnTo>
                  <a:lnTo>
                    <a:pt x="466" y="200"/>
                  </a:lnTo>
                  <a:lnTo>
                    <a:pt x="475" y="163"/>
                  </a:lnTo>
                  <a:lnTo>
                    <a:pt x="490" y="129"/>
                  </a:lnTo>
                  <a:lnTo>
                    <a:pt x="510" y="98"/>
                  </a:lnTo>
                  <a:lnTo>
                    <a:pt x="533" y="70"/>
                  </a:lnTo>
                  <a:lnTo>
                    <a:pt x="561" y="47"/>
                  </a:lnTo>
                  <a:lnTo>
                    <a:pt x="592" y="27"/>
                  </a:lnTo>
                  <a:lnTo>
                    <a:pt x="626" y="13"/>
                  </a:lnTo>
                  <a:lnTo>
                    <a:pt x="664" y="3"/>
                  </a:lnTo>
                  <a:lnTo>
                    <a:pt x="7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1" name="Freeform 151"/>
            <p:cNvSpPr>
              <a:spLocks/>
            </p:cNvSpPr>
            <p:nvPr/>
          </p:nvSpPr>
          <p:spPr bwMode="auto">
            <a:xfrm>
              <a:off x="5778" y="2856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0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5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2"/>
                  </a:lnTo>
                  <a:lnTo>
                    <a:pt x="1311" y="193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3"/>
                  </a:lnTo>
                  <a:lnTo>
                    <a:pt x="38" y="182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5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0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2" name="Freeform 152"/>
            <p:cNvSpPr>
              <a:spLocks/>
            </p:cNvSpPr>
            <p:nvPr/>
          </p:nvSpPr>
          <p:spPr bwMode="auto">
            <a:xfrm>
              <a:off x="5778" y="2886"/>
              <a:ext cx="92" cy="14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8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3"/>
                  </a:lnTo>
                  <a:lnTo>
                    <a:pt x="1290" y="202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2"/>
                  </a:lnTo>
                  <a:lnTo>
                    <a:pt x="58" y="193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8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3" name="Freeform 153"/>
            <p:cNvSpPr>
              <a:spLocks/>
            </p:cNvSpPr>
            <p:nvPr/>
          </p:nvSpPr>
          <p:spPr bwMode="auto">
            <a:xfrm>
              <a:off x="5778" y="2917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4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7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4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4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7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4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4" name="Freeform 154"/>
            <p:cNvSpPr>
              <a:spLocks/>
            </p:cNvSpPr>
            <p:nvPr/>
          </p:nvSpPr>
          <p:spPr bwMode="auto">
            <a:xfrm>
              <a:off x="5778" y="2947"/>
              <a:ext cx="92" cy="14"/>
            </a:xfrm>
            <a:custGeom>
              <a:avLst/>
              <a:gdLst>
                <a:gd name="T0" fmla="*/ 0 w 1369"/>
                <a:gd name="T1" fmla="*/ 0 h 203"/>
                <a:gd name="T2" fmla="*/ 0 w 1369"/>
                <a:gd name="T3" fmla="*/ 0 h 203"/>
                <a:gd name="T4" fmla="*/ 0 w 1369"/>
                <a:gd name="T5" fmla="*/ 0 h 203"/>
                <a:gd name="T6" fmla="*/ 0 w 1369"/>
                <a:gd name="T7" fmla="*/ 0 h 203"/>
                <a:gd name="T8" fmla="*/ 0 w 1369"/>
                <a:gd name="T9" fmla="*/ 0 h 203"/>
                <a:gd name="T10" fmla="*/ 0 w 1369"/>
                <a:gd name="T11" fmla="*/ 0 h 203"/>
                <a:gd name="T12" fmla="*/ 0 w 1369"/>
                <a:gd name="T13" fmla="*/ 0 h 203"/>
                <a:gd name="T14" fmla="*/ 0 w 1369"/>
                <a:gd name="T15" fmla="*/ 0 h 203"/>
                <a:gd name="T16" fmla="*/ 0 w 1369"/>
                <a:gd name="T17" fmla="*/ 0 h 203"/>
                <a:gd name="T18" fmla="*/ 0 w 1369"/>
                <a:gd name="T19" fmla="*/ 0 h 203"/>
                <a:gd name="T20" fmla="*/ 0 w 1369"/>
                <a:gd name="T21" fmla="*/ 0 h 203"/>
                <a:gd name="T22" fmla="*/ 0 w 1369"/>
                <a:gd name="T23" fmla="*/ 0 h 203"/>
                <a:gd name="T24" fmla="*/ 0 w 1369"/>
                <a:gd name="T25" fmla="*/ 0 h 203"/>
                <a:gd name="T26" fmla="*/ 0 w 1369"/>
                <a:gd name="T27" fmla="*/ 0 h 203"/>
                <a:gd name="T28" fmla="*/ 0 w 1369"/>
                <a:gd name="T29" fmla="*/ 0 h 203"/>
                <a:gd name="T30" fmla="*/ 0 w 1369"/>
                <a:gd name="T31" fmla="*/ 0 h 203"/>
                <a:gd name="T32" fmla="*/ 0 w 1369"/>
                <a:gd name="T33" fmla="*/ 0 h 203"/>
                <a:gd name="T34" fmla="*/ 0 w 1369"/>
                <a:gd name="T35" fmla="*/ 0 h 203"/>
                <a:gd name="T36" fmla="*/ 0 w 1369"/>
                <a:gd name="T37" fmla="*/ 0 h 203"/>
                <a:gd name="T38" fmla="*/ 0 w 1369"/>
                <a:gd name="T39" fmla="*/ 0 h 203"/>
                <a:gd name="T40" fmla="*/ 0 w 1369"/>
                <a:gd name="T41" fmla="*/ 0 h 203"/>
                <a:gd name="T42" fmla="*/ 0 w 1369"/>
                <a:gd name="T43" fmla="*/ 0 h 203"/>
                <a:gd name="T44" fmla="*/ 0 w 1369"/>
                <a:gd name="T45" fmla="*/ 0 h 203"/>
                <a:gd name="T46" fmla="*/ 0 w 1369"/>
                <a:gd name="T47" fmla="*/ 0 h 203"/>
                <a:gd name="T48" fmla="*/ 0 w 1369"/>
                <a:gd name="T49" fmla="*/ 0 h 203"/>
                <a:gd name="T50" fmla="*/ 0 w 1369"/>
                <a:gd name="T51" fmla="*/ 0 h 203"/>
                <a:gd name="T52" fmla="*/ 0 w 1369"/>
                <a:gd name="T53" fmla="*/ 0 h 203"/>
                <a:gd name="T54" fmla="*/ 0 w 1369"/>
                <a:gd name="T55" fmla="*/ 0 h 203"/>
                <a:gd name="T56" fmla="*/ 0 w 1369"/>
                <a:gd name="T57" fmla="*/ 0 h 203"/>
                <a:gd name="T58" fmla="*/ 0 w 1369"/>
                <a:gd name="T59" fmla="*/ 0 h 203"/>
                <a:gd name="T60" fmla="*/ 0 w 1369"/>
                <a:gd name="T61" fmla="*/ 0 h 20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3"/>
                <a:gd name="T95" fmla="*/ 1369 w 1369"/>
                <a:gd name="T96" fmla="*/ 203 h 20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3">
                  <a:moveTo>
                    <a:pt x="102" y="0"/>
                  </a:moveTo>
                  <a:lnTo>
                    <a:pt x="1267" y="0"/>
                  </a:lnTo>
                  <a:lnTo>
                    <a:pt x="1290" y="2"/>
                  </a:lnTo>
                  <a:lnTo>
                    <a:pt x="1311" y="10"/>
                  </a:lnTo>
                  <a:lnTo>
                    <a:pt x="1331" y="22"/>
                  </a:lnTo>
                  <a:lnTo>
                    <a:pt x="1346" y="38"/>
                  </a:lnTo>
                  <a:lnTo>
                    <a:pt x="1359" y="56"/>
                  </a:lnTo>
                  <a:lnTo>
                    <a:pt x="1366" y="78"/>
                  </a:lnTo>
                  <a:lnTo>
                    <a:pt x="1369" y="101"/>
                  </a:lnTo>
                  <a:lnTo>
                    <a:pt x="1366" y="125"/>
                  </a:lnTo>
                  <a:lnTo>
                    <a:pt x="1359" y="145"/>
                  </a:lnTo>
                  <a:lnTo>
                    <a:pt x="1346" y="165"/>
                  </a:lnTo>
                  <a:lnTo>
                    <a:pt x="1331" y="180"/>
                  </a:lnTo>
                  <a:lnTo>
                    <a:pt x="1311" y="193"/>
                  </a:lnTo>
                  <a:lnTo>
                    <a:pt x="1290" y="200"/>
                  </a:lnTo>
                  <a:lnTo>
                    <a:pt x="1267" y="203"/>
                  </a:lnTo>
                  <a:lnTo>
                    <a:pt x="102" y="203"/>
                  </a:lnTo>
                  <a:lnTo>
                    <a:pt x="78" y="200"/>
                  </a:lnTo>
                  <a:lnTo>
                    <a:pt x="58" y="193"/>
                  </a:lnTo>
                  <a:lnTo>
                    <a:pt x="38" y="180"/>
                  </a:lnTo>
                  <a:lnTo>
                    <a:pt x="22" y="165"/>
                  </a:lnTo>
                  <a:lnTo>
                    <a:pt x="10" y="145"/>
                  </a:lnTo>
                  <a:lnTo>
                    <a:pt x="3" y="125"/>
                  </a:lnTo>
                  <a:lnTo>
                    <a:pt x="0" y="101"/>
                  </a:lnTo>
                  <a:lnTo>
                    <a:pt x="3" y="78"/>
                  </a:lnTo>
                  <a:lnTo>
                    <a:pt x="10" y="56"/>
                  </a:lnTo>
                  <a:lnTo>
                    <a:pt x="22" y="38"/>
                  </a:lnTo>
                  <a:lnTo>
                    <a:pt x="38" y="22"/>
                  </a:lnTo>
                  <a:lnTo>
                    <a:pt x="58" y="10"/>
                  </a:lnTo>
                  <a:lnTo>
                    <a:pt x="78" y="2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</p:spTree>
    <p:extLst>
      <p:ext uri="{BB962C8B-B14F-4D97-AF65-F5344CB8AC3E}">
        <p14:creationId xmlns:p14="http://schemas.microsoft.com/office/powerpoint/2010/main" val="20179323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Oval 24"/>
          <p:cNvSpPr/>
          <p:nvPr>
            <p:custDataLst>
              <p:tags r:id="rId2"/>
            </p:custDataLst>
          </p:nvPr>
        </p:nvSpPr>
        <p:spPr bwMode="gray">
          <a:xfrm>
            <a:off x="7261225" y="24161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3915752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0216" name="think-cell Slide" r:id="rId17" imgW="0" imgH="0" progId="TCLayout.ActiveDocument.1">
                  <p:embed/>
                </p:oleObj>
              </mc:Choice>
              <mc:Fallback>
                <p:oleObj name="think-cell Slide" r:id="rId17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aphicFrame>
        <p:nvGraphicFramePr>
          <p:cNvPr id="75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0756124"/>
              </p:ext>
            </p:extLst>
          </p:nvPr>
        </p:nvGraphicFramePr>
        <p:xfrm>
          <a:off x="457200" y="1186354"/>
          <a:ext cx="8991600" cy="1727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8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94612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954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91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zystąpienie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olski do transgranicznego systemu UE wymiany e-faktur i e-dokumentów </a:t>
                      </a:r>
                      <a:r>
                        <a:rPr lang="pl-PL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PEPPOL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kończone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drożenie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rzepisów o e-fakturowaniu w zamówieniach publicznych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.2018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drożenie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latformy pośredniczącej e-fakturowania dla sfery finansów publicznych B2A (projekt POPC)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.2019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um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Elektronicznego Fakturowania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.2018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drożenie e-fakturowania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2B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5366" name="Title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675439" cy="831850"/>
          </a:xfrm>
        </p:spPr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Cele strumienia </a:t>
            </a:r>
            <a:r>
              <a:rPr lang="pl-PL" altLang="pl-PL" dirty="0" smtClean="0">
                <a:solidFill>
                  <a:srgbClr val="DC6E00"/>
                </a:solidFill>
              </a:rPr>
              <a:t>e-Faktura </a:t>
            </a:r>
            <a:r>
              <a:rPr lang="pl-PL" altLang="pl-PL" dirty="0" smtClean="0">
                <a:solidFill>
                  <a:srgbClr val="0166B6"/>
                </a:solidFill>
              </a:rPr>
              <a:t>aktualnie są realizowane </a:t>
            </a:r>
            <a:r>
              <a:rPr lang="pl-PL" altLang="pl-PL" dirty="0">
                <a:solidFill>
                  <a:srgbClr val="0166B6"/>
                </a:solidFill>
              </a:rPr>
              <a:t>w </a:t>
            </a:r>
            <a:r>
              <a:rPr lang="pl-PL" altLang="pl-PL" dirty="0" smtClean="0">
                <a:solidFill>
                  <a:srgbClr val="0166B6"/>
                </a:solidFill>
              </a:rPr>
              <a:t>ramach </a:t>
            </a:r>
            <a:br>
              <a:rPr lang="pl-PL" altLang="pl-PL" dirty="0" smtClean="0">
                <a:solidFill>
                  <a:srgbClr val="0166B6"/>
                </a:solidFill>
              </a:rPr>
            </a:br>
            <a:r>
              <a:rPr lang="pl-PL" altLang="pl-PL" dirty="0" smtClean="0">
                <a:solidFill>
                  <a:srgbClr val="DC6E00"/>
                </a:solidFill>
              </a:rPr>
              <a:t>pięciu projektów</a:t>
            </a:r>
            <a:endParaRPr lang="pl-PL" altLang="pl-PL" dirty="0">
              <a:solidFill>
                <a:srgbClr val="0166B6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677988" y="6496294"/>
            <a:ext cx="17956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Wczesne prace koncepcyjne</a:t>
            </a:r>
          </a:p>
        </p:txBody>
      </p:sp>
      <p:sp>
        <p:nvSpPr>
          <p:cNvPr id="93" name="Rectangle 92"/>
          <p:cNvSpPr/>
          <p:nvPr/>
        </p:nvSpPr>
        <p:spPr>
          <a:xfrm>
            <a:off x="641350" y="6489944"/>
            <a:ext cx="816249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94" name="Oval 93"/>
          <p:cNvSpPr/>
          <p:nvPr/>
        </p:nvSpPr>
        <p:spPr bwMode="gray">
          <a:xfrm>
            <a:off x="3516313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5" name="Arc 94"/>
          <p:cNvSpPr/>
          <p:nvPr/>
        </p:nvSpPr>
        <p:spPr bwMode="gray">
          <a:xfrm>
            <a:off x="3516313" y="6513158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3724275" y="6485547"/>
            <a:ext cx="21691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awansowane prace koncepcyjne</a:t>
            </a:r>
          </a:p>
        </p:txBody>
      </p:sp>
      <p:sp>
        <p:nvSpPr>
          <p:cNvPr id="98" name="Oval 97"/>
          <p:cNvSpPr/>
          <p:nvPr/>
        </p:nvSpPr>
        <p:spPr bwMode="gray">
          <a:xfrm>
            <a:off x="5904097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1" name="Arc 110"/>
          <p:cNvSpPr/>
          <p:nvPr/>
        </p:nvSpPr>
        <p:spPr bwMode="gray">
          <a:xfrm>
            <a:off x="5904097" y="6513158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6112059" y="6485547"/>
            <a:ext cx="181171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116" name="Oval 115"/>
          <p:cNvSpPr/>
          <p:nvPr/>
        </p:nvSpPr>
        <p:spPr bwMode="gray">
          <a:xfrm>
            <a:off x="7889193" y="6513158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8106681" y="6485547"/>
            <a:ext cx="862737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129" name="Oval 128"/>
          <p:cNvSpPr/>
          <p:nvPr>
            <p:custDataLst>
              <p:tags r:id="rId5"/>
            </p:custDataLst>
          </p:nvPr>
        </p:nvSpPr>
        <p:spPr bwMode="gray">
          <a:xfrm>
            <a:off x="433388" y="65182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5" name="Oval 134"/>
          <p:cNvSpPr/>
          <p:nvPr>
            <p:custDataLst>
              <p:tags r:id="rId6"/>
            </p:custDataLst>
          </p:nvPr>
        </p:nvSpPr>
        <p:spPr bwMode="gray">
          <a:xfrm>
            <a:off x="1447800" y="652462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7" name="Arc 136"/>
          <p:cNvSpPr/>
          <p:nvPr>
            <p:custDataLst>
              <p:tags r:id="rId7"/>
            </p:custDataLst>
          </p:nvPr>
        </p:nvSpPr>
        <p:spPr bwMode="gray">
          <a:xfrm>
            <a:off x="1447800" y="6524625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20" name="Oval 119"/>
          <p:cNvSpPr/>
          <p:nvPr/>
        </p:nvSpPr>
        <p:spPr bwMode="auto">
          <a:xfrm>
            <a:off x="8103982" y="1628800"/>
            <a:ext cx="196364" cy="196364"/>
          </a:xfrm>
          <a:prstGeom prst="ellipse">
            <a:avLst/>
          </a:prstGeom>
          <a:solidFill>
            <a:srgbClr val="06C245"/>
          </a:solidFill>
          <a:ln w="12700" cap="flat" cmpd="sng" algn="ctr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56" name="Oval 155"/>
          <p:cNvSpPr/>
          <p:nvPr>
            <p:custDataLst>
              <p:tags r:id="rId8"/>
            </p:custDataLst>
          </p:nvPr>
        </p:nvSpPr>
        <p:spPr bwMode="gray">
          <a:xfrm>
            <a:off x="7261225" y="1617404"/>
            <a:ext cx="203200" cy="2032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Oval 158"/>
          <p:cNvSpPr/>
          <p:nvPr>
            <p:custDataLst>
              <p:tags r:id="rId9"/>
            </p:custDataLst>
          </p:nvPr>
        </p:nvSpPr>
        <p:spPr bwMode="gray">
          <a:xfrm>
            <a:off x="7261225" y="1897063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" name="Oval 24"/>
          <p:cNvSpPr/>
          <p:nvPr>
            <p:custDataLst>
              <p:tags r:id="rId10"/>
            </p:custDataLst>
          </p:nvPr>
        </p:nvSpPr>
        <p:spPr bwMode="gray">
          <a:xfrm>
            <a:off x="7261225" y="26701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0" name="Oval 39"/>
          <p:cNvSpPr/>
          <p:nvPr>
            <p:custDataLst>
              <p:tags r:id="rId11"/>
            </p:custDataLst>
          </p:nvPr>
        </p:nvSpPr>
        <p:spPr bwMode="gray">
          <a:xfrm>
            <a:off x="7261225" y="2138363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1" name="Arc 40"/>
          <p:cNvSpPr/>
          <p:nvPr>
            <p:custDataLst>
              <p:tags r:id="rId12"/>
            </p:custDataLst>
          </p:nvPr>
        </p:nvSpPr>
        <p:spPr bwMode="gray">
          <a:xfrm>
            <a:off x="7261225" y="2138363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46" name="Oval 119"/>
          <p:cNvSpPr/>
          <p:nvPr/>
        </p:nvSpPr>
        <p:spPr bwMode="auto">
          <a:xfrm>
            <a:off x="8106681" y="2152906"/>
            <a:ext cx="196364" cy="196364"/>
          </a:xfrm>
          <a:prstGeom prst="ellipse">
            <a:avLst/>
          </a:prstGeom>
          <a:solidFill>
            <a:srgbClr val="FEEC00"/>
          </a:solidFill>
          <a:ln w="12700" cap="flat" cmpd="sng" algn="ctr">
            <a:solidFill>
              <a:srgbClr val="FEEC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4" name="Arc 40"/>
          <p:cNvSpPr/>
          <p:nvPr>
            <p:custDataLst>
              <p:tags r:id="rId13"/>
            </p:custDataLst>
          </p:nvPr>
        </p:nvSpPr>
        <p:spPr bwMode="gray">
          <a:xfrm>
            <a:off x="7261225" y="2416175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47" name="Oval 119"/>
          <p:cNvSpPr/>
          <p:nvPr/>
        </p:nvSpPr>
        <p:spPr bwMode="auto">
          <a:xfrm>
            <a:off x="8106681" y="2416175"/>
            <a:ext cx="196364" cy="196364"/>
          </a:xfrm>
          <a:prstGeom prst="ellipse">
            <a:avLst/>
          </a:prstGeom>
          <a:solidFill>
            <a:srgbClr val="FEEC00"/>
          </a:solidFill>
          <a:ln w="12700" cap="flat" cmpd="sng" algn="ctr">
            <a:solidFill>
              <a:srgbClr val="FEEC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8" name="Oval 155"/>
          <p:cNvSpPr/>
          <p:nvPr>
            <p:custDataLst>
              <p:tags r:id="rId14"/>
            </p:custDataLst>
          </p:nvPr>
        </p:nvSpPr>
        <p:spPr bwMode="gray">
          <a:xfrm>
            <a:off x="7261225" y="1895216"/>
            <a:ext cx="203200" cy="2032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9" name="Oval 119"/>
          <p:cNvSpPr/>
          <p:nvPr/>
        </p:nvSpPr>
        <p:spPr bwMode="auto">
          <a:xfrm>
            <a:off x="8106681" y="1889637"/>
            <a:ext cx="196364" cy="196364"/>
          </a:xfrm>
          <a:prstGeom prst="ellipse">
            <a:avLst/>
          </a:prstGeom>
          <a:solidFill>
            <a:srgbClr val="06C245"/>
          </a:solidFill>
          <a:ln w="12700" cap="flat" cmpd="sng" algn="ctr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48892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trumień</a:t>
            </a:r>
            <a:r>
              <a:rPr lang="pl-PL" dirty="0" smtClean="0">
                <a:solidFill>
                  <a:srgbClr val="DC6E00"/>
                </a:solidFill>
              </a:rPr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e-Paragon</a:t>
            </a:r>
            <a:r>
              <a:rPr lang="pl-PL" dirty="0" smtClean="0"/>
              <a:t> realizuje projekt według następującego planu działania</a:t>
            </a:r>
            <a:endParaRPr lang="pl-PL" dirty="0"/>
          </a:p>
        </p:txBody>
      </p:sp>
      <p:graphicFrame>
        <p:nvGraphicFramePr>
          <p:cNvPr id="3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6620792"/>
              </p:ext>
            </p:extLst>
          </p:nvPr>
        </p:nvGraphicFramePr>
        <p:xfrm>
          <a:off x="457200" y="1186354"/>
          <a:ext cx="8991600" cy="39091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8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94612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954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91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</a:rPr>
                        <a:t>Plan</a:t>
                      </a:r>
                      <a:r>
                        <a:rPr lang="pl-PL" sz="1200" b="1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</a:rPr>
                        <a:t> działań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ypracowanie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korzyści dla uczestników e-Paragonu (klient, </a:t>
                      </a:r>
                      <a:r>
                        <a:rPr lang="pl-PL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rchant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Bank, </a:t>
                      </a:r>
                      <a:r>
                        <a:rPr lang="pl-PL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t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kończone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ypracowanie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koncepcji rozwiązania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kończone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2422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ybór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artnerów do projektu Pilot e-Paragon (Orlen, PKO BP, </a:t>
                      </a:r>
                      <a:r>
                        <a:rPr lang="pl-PL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ervice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KIR)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kończone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warcie porozumienia 4-stronnego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18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twierdzenie specyfikacji technicznej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18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19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 rozwiązania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3.2019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dyt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ezpieczeństwa/Retesty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19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yzja GO/NOT GO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19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drożenie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ozwiązania w wybranych punktach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19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yzja GO/NOT GO MASS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18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drożenie (</a:t>
                      </a:r>
                      <a:r>
                        <a:rPr lang="pl-PL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ll</a:t>
                      </a:r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ut)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6.2018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cepcja legislacyjna dla </a:t>
                      </a:r>
                      <a:r>
                        <a:rPr lang="pl-PL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Paragonu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4" name="Oval 155"/>
          <p:cNvSpPr/>
          <p:nvPr>
            <p:custDataLst>
              <p:tags r:id="rId1"/>
            </p:custDataLst>
          </p:nvPr>
        </p:nvSpPr>
        <p:spPr bwMode="gray">
          <a:xfrm>
            <a:off x="7261225" y="1617404"/>
            <a:ext cx="203200" cy="2032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Oval 119"/>
          <p:cNvSpPr/>
          <p:nvPr/>
        </p:nvSpPr>
        <p:spPr bwMode="auto">
          <a:xfrm>
            <a:off x="8103982" y="1624240"/>
            <a:ext cx="196364" cy="196364"/>
          </a:xfrm>
          <a:prstGeom prst="ellipse">
            <a:avLst/>
          </a:prstGeom>
          <a:solidFill>
            <a:srgbClr val="06C245"/>
          </a:solidFill>
          <a:ln w="12700" cap="flat" cmpd="sng" algn="ctr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6" name="Oval 155"/>
          <p:cNvSpPr/>
          <p:nvPr>
            <p:custDataLst>
              <p:tags r:id="rId2"/>
            </p:custDataLst>
          </p:nvPr>
        </p:nvSpPr>
        <p:spPr bwMode="gray">
          <a:xfrm>
            <a:off x="7261225" y="1871404"/>
            <a:ext cx="203200" cy="2032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Oval 155"/>
          <p:cNvSpPr/>
          <p:nvPr>
            <p:custDataLst>
              <p:tags r:id="rId3"/>
            </p:custDataLst>
          </p:nvPr>
        </p:nvSpPr>
        <p:spPr bwMode="gray">
          <a:xfrm>
            <a:off x="7261225" y="2159229"/>
            <a:ext cx="203200" cy="2032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Oval 119"/>
          <p:cNvSpPr/>
          <p:nvPr/>
        </p:nvSpPr>
        <p:spPr bwMode="auto">
          <a:xfrm>
            <a:off x="8103982" y="1881182"/>
            <a:ext cx="196364" cy="196364"/>
          </a:xfrm>
          <a:prstGeom prst="ellipse">
            <a:avLst/>
          </a:prstGeom>
          <a:solidFill>
            <a:srgbClr val="06C245"/>
          </a:solidFill>
          <a:ln w="12700" cap="flat" cmpd="sng" algn="ctr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Oval 119"/>
          <p:cNvSpPr/>
          <p:nvPr/>
        </p:nvSpPr>
        <p:spPr bwMode="auto">
          <a:xfrm>
            <a:off x="8103982" y="2167536"/>
            <a:ext cx="196364" cy="196364"/>
          </a:xfrm>
          <a:prstGeom prst="ellipse">
            <a:avLst/>
          </a:prstGeom>
          <a:solidFill>
            <a:srgbClr val="06C245"/>
          </a:solidFill>
          <a:ln w="12700" cap="flat" cmpd="sng" algn="ctr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Oval 32"/>
          <p:cNvSpPr/>
          <p:nvPr>
            <p:custDataLst>
              <p:tags r:id="rId4"/>
            </p:custDataLst>
          </p:nvPr>
        </p:nvSpPr>
        <p:spPr bwMode="gray">
          <a:xfrm>
            <a:off x="7261225" y="4327360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Oval 32"/>
          <p:cNvSpPr/>
          <p:nvPr>
            <p:custDataLst>
              <p:tags r:id="rId5"/>
            </p:custDataLst>
          </p:nvPr>
        </p:nvSpPr>
        <p:spPr bwMode="gray">
          <a:xfrm>
            <a:off x="7261225" y="458112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Oval 32"/>
          <p:cNvSpPr/>
          <p:nvPr>
            <p:custDataLst>
              <p:tags r:id="rId6"/>
            </p:custDataLst>
          </p:nvPr>
        </p:nvSpPr>
        <p:spPr bwMode="gray">
          <a:xfrm>
            <a:off x="7261225" y="4855246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" name="Oval 32"/>
          <p:cNvSpPr/>
          <p:nvPr>
            <p:custDataLst>
              <p:tags r:id="rId7"/>
            </p:custDataLst>
          </p:nvPr>
        </p:nvSpPr>
        <p:spPr bwMode="gray">
          <a:xfrm>
            <a:off x="7259423" y="4053242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8" name="Oval 32"/>
          <p:cNvSpPr/>
          <p:nvPr>
            <p:custDataLst>
              <p:tags r:id="rId8"/>
            </p:custDataLst>
          </p:nvPr>
        </p:nvSpPr>
        <p:spPr bwMode="gray">
          <a:xfrm>
            <a:off x="7261225" y="3792590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1" name="Oval 24"/>
          <p:cNvSpPr/>
          <p:nvPr>
            <p:custDataLst>
              <p:tags r:id="rId9"/>
            </p:custDataLst>
          </p:nvPr>
        </p:nvSpPr>
        <p:spPr bwMode="gray">
          <a:xfrm>
            <a:off x="7260083" y="3533823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6" name="Oval 31"/>
          <p:cNvSpPr/>
          <p:nvPr>
            <p:custDataLst>
              <p:tags r:id="rId10"/>
            </p:custDataLst>
          </p:nvPr>
        </p:nvSpPr>
        <p:spPr bwMode="gray">
          <a:xfrm>
            <a:off x="7259423" y="3261304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2" name="Oval 119"/>
          <p:cNvSpPr/>
          <p:nvPr/>
        </p:nvSpPr>
        <p:spPr bwMode="auto">
          <a:xfrm>
            <a:off x="8103982" y="2755944"/>
            <a:ext cx="196364" cy="196364"/>
          </a:xfrm>
          <a:prstGeom prst="ellipse">
            <a:avLst/>
          </a:prstGeom>
          <a:solidFill>
            <a:srgbClr val="FEEC00"/>
          </a:solidFill>
          <a:ln w="12700" cap="flat" cmpd="sng" algn="ctr">
            <a:solidFill>
              <a:srgbClr val="FEEC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33" name="Oval 32"/>
          <p:cNvSpPr/>
          <p:nvPr>
            <p:custDataLst>
              <p:tags r:id="rId11"/>
            </p:custDataLst>
          </p:nvPr>
        </p:nvSpPr>
        <p:spPr bwMode="gray">
          <a:xfrm>
            <a:off x="7258852" y="2998359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7" name="Oval 31"/>
          <p:cNvSpPr/>
          <p:nvPr>
            <p:custDataLst>
              <p:tags r:id="rId12"/>
            </p:custDataLst>
          </p:nvPr>
        </p:nvSpPr>
        <p:spPr bwMode="gray">
          <a:xfrm>
            <a:off x="7258852" y="24616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8" name="Arc 27"/>
          <p:cNvSpPr/>
          <p:nvPr>
            <p:custDataLst>
              <p:tags r:id="rId13"/>
            </p:custDataLst>
          </p:nvPr>
        </p:nvSpPr>
        <p:spPr bwMode="gray">
          <a:xfrm>
            <a:off x="7261225" y="2462073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39" name="Oval 119"/>
          <p:cNvSpPr/>
          <p:nvPr/>
        </p:nvSpPr>
        <p:spPr bwMode="auto">
          <a:xfrm>
            <a:off x="8108825" y="2462073"/>
            <a:ext cx="196364" cy="196364"/>
          </a:xfrm>
          <a:prstGeom prst="ellipse">
            <a:avLst/>
          </a:prstGeom>
          <a:solidFill>
            <a:srgbClr val="FEEC00"/>
          </a:solidFill>
          <a:ln w="12700" cap="flat" cmpd="sng" algn="ctr">
            <a:solidFill>
              <a:srgbClr val="FEEC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0" name="Oval 32"/>
          <p:cNvSpPr/>
          <p:nvPr>
            <p:custDataLst>
              <p:tags r:id="rId14"/>
            </p:custDataLst>
          </p:nvPr>
        </p:nvSpPr>
        <p:spPr bwMode="gray">
          <a:xfrm>
            <a:off x="7261225" y="2738813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1" name="Arc 27"/>
          <p:cNvSpPr/>
          <p:nvPr>
            <p:custDataLst>
              <p:tags r:id="rId15"/>
            </p:custDataLst>
          </p:nvPr>
        </p:nvSpPr>
        <p:spPr bwMode="gray">
          <a:xfrm>
            <a:off x="7258852" y="2731781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4" name="Oval 128"/>
          <p:cNvSpPr/>
          <p:nvPr>
            <p:custDataLst>
              <p:tags r:id="rId16"/>
            </p:custDataLst>
          </p:nvPr>
        </p:nvSpPr>
        <p:spPr bwMode="gray">
          <a:xfrm>
            <a:off x="433388" y="65182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" name="Rectangle 92"/>
          <p:cNvSpPr/>
          <p:nvPr/>
        </p:nvSpPr>
        <p:spPr>
          <a:xfrm>
            <a:off x="641350" y="6489944"/>
            <a:ext cx="816249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27" name="Oval 134"/>
          <p:cNvSpPr/>
          <p:nvPr>
            <p:custDataLst>
              <p:tags r:id="rId17"/>
            </p:custDataLst>
          </p:nvPr>
        </p:nvSpPr>
        <p:spPr bwMode="gray">
          <a:xfrm>
            <a:off x="1447800" y="652462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8" name="Rectangle 91"/>
          <p:cNvSpPr/>
          <p:nvPr/>
        </p:nvSpPr>
        <p:spPr>
          <a:xfrm>
            <a:off x="1677988" y="6496294"/>
            <a:ext cx="17956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Wczesne prace koncepcyjne</a:t>
            </a:r>
          </a:p>
        </p:txBody>
      </p:sp>
      <p:sp>
        <p:nvSpPr>
          <p:cNvPr id="30" name="Oval 93"/>
          <p:cNvSpPr/>
          <p:nvPr/>
        </p:nvSpPr>
        <p:spPr bwMode="gray">
          <a:xfrm>
            <a:off x="3516313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1" name="Rectangle 95"/>
          <p:cNvSpPr/>
          <p:nvPr/>
        </p:nvSpPr>
        <p:spPr>
          <a:xfrm>
            <a:off x="3724275" y="6485547"/>
            <a:ext cx="21691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awansowane prace koncepcyjne</a:t>
            </a:r>
          </a:p>
        </p:txBody>
      </p:sp>
      <p:sp>
        <p:nvSpPr>
          <p:cNvPr id="34" name="Oval 97"/>
          <p:cNvSpPr/>
          <p:nvPr/>
        </p:nvSpPr>
        <p:spPr bwMode="gray">
          <a:xfrm>
            <a:off x="5904097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5" name="Rectangle 112"/>
          <p:cNvSpPr/>
          <p:nvPr/>
        </p:nvSpPr>
        <p:spPr>
          <a:xfrm>
            <a:off x="6112059" y="6485547"/>
            <a:ext cx="181171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36" name="Oval 115"/>
          <p:cNvSpPr/>
          <p:nvPr/>
        </p:nvSpPr>
        <p:spPr bwMode="gray">
          <a:xfrm>
            <a:off x="7889193" y="6513158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2" name="Rectangle 127"/>
          <p:cNvSpPr/>
          <p:nvPr/>
        </p:nvSpPr>
        <p:spPr>
          <a:xfrm>
            <a:off x="8106681" y="6485547"/>
            <a:ext cx="862737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43" name="Arc 110"/>
          <p:cNvSpPr/>
          <p:nvPr/>
        </p:nvSpPr>
        <p:spPr bwMode="gray">
          <a:xfrm>
            <a:off x="5914735" y="6524625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44" name="Arc 94"/>
          <p:cNvSpPr/>
          <p:nvPr/>
        </p:nvSpPr>
        <p:spPr bwMode="gray">
          <a:xfrm>
            <a:off x="3520055" y="6510695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45" name="Arc 136"/>
          <p:cNvSpPr/>
          <p:nvPr>
            <p:custDataLst>
              <p:tags r:id="rId18"/>
            </p:custDataLst>
          </p:nvPr>
        </p:nvSpPr>
        <p:spPr bwMode="gray">
          <a:xfrm>
            <a:off x="1451274" y="6524625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1619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4471112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123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zy biznesowi: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kat</a:t>
            </a:r>
            <a:endParaRPr lang="pl-PL" sz="1517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y: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lina Sarnecka (MEN)</a:t>
            </a:r>
            <a:endParaRPr lang="pl-PL" sz="1517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 smtClean="0">
                <a:solidFill>
                  <a:srgbClr val="0166B6"/>
                </a:solidFill>
              </a:rPr>
              <a:t>Strumień</a:t>
            </a:r>
            <a:r>
              <a:rPr lang="pl-PL" altLang="pl-PL" dirty="0" smtClean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e-Edukacja </a:t>
            </a:r>
            <a:r>
              <a:rPr lang="pl-PL" altLang="pl-PL" dirty="0" smtClean="0">
                <a:solidFill>
                  <a:srgbClr val="0166B6"/>
                </a:solidFill>
              </a:rPr>
              <a:t>realizuje inicjatywy z zakresu cyfryzacji edukacji i rozwijania kompetencji cyfrowych</a:t>
            </a:r>
          </a:p>
        </p:txBody>
      </p:sp>
      <p:sp>
        <p:nvSpPr>
          <p:cNvPr id="52" name="FlowTriangle"/>
          <p:cNvSpPr>
            <a:spLocks noChangeArrowheads="1"/>
          </p:cNvSpPr>
          <p:nvPr/>
        </p:nvSpPr>
        <p:spPr bwMode="gray">
          <a:xfrm rot="5400000">
            <a:off x="4122663" y="4273847"/>
            <a:ext cx="1738709" cy="234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84419" tIns="42210" rIns="84419" bIns="42210" anchor="ctr"/>
          <a:lstStyle/>
          <a:p>
            <a:pPr algn="ctr">
              <a:defRPr/>
            </a:pPr>
            <a:endParaRPr lang="pl-PL" sz="13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3024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Rozwijani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kompetencji cyfrowych nauczycieli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i kształcenie kompetencji cyfrowych uczniów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Tworzeni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e-zasobów, e-materiałów i e-narzędzi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Cyfrowa platforma edukacyjna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Projekt </a:t>
            </a:r>
            <a:r>
              <a:rPr lang="pl-PL" altLang="pl-PL" sz="1300" dirty="0" err="1">
                <a:solidFill>
                  <a:srgbClr val="000000"/>
                </a:solidFill>
                <a:latin typeface="Calibri" pitchFamily="34" charset="0"/>
              </a:rPr>
              <a:t>OSE</a:t>
            </a: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Bezpieczeństwo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w sieci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Infrastruktura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w szkołach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Zapewnieni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dostępności dla osób o specyficznych potrzebach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Identyfikacja i wykorzystanie synergii z programami rozwoju cyfrowych platform dla uczelni wyższych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 smtClean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9" name="Group 148"/>
          <p:cNvGrpSpPr>
            <a:grpSpLocks noChangeAspect="1"/>
          </p:cNvGrpSpPr>
          <p:nvPr/>
        </p:nvGrpSpPr>
        <p:grpSpPr bwMode="auto">
          <a:xfrm>
            <a:off x="771586" y="1926929"/>
            <a:ext cx="584691" cy="703355"/>
            <a:chOff x="5748" y="2786"/>
            <a:chExt cx="202" cy="243"/>
          </a:xfrm>
        </p:grpSpPr>
        <p:sp>
          <p:nvSpPr>
            <p:cNvPr id="20" name="Freeform 150"/>
            <p:cNvSpPr>
              <a:spLocks noEditPoints="1"/>
            </p:cNvSpPr>
            <p:nvPr/>
          </p:nvSpPr>
          <p:spPr bwMode="auto">
            <a:xfrm>
              <a:off x="5748" y="2786"/>
              <a:ext cx="202" cy="243"/>
            </a:xfrm>
            <a:custGeom>
              <a:avLst/>
              <a:gdLst>
                <a:gd name="T0" fmla="*/ 0 w 2742"/>
                <a:gd name="T1" fmla="*/ 0 h 3361"/>
                <a:gd name="T2" fmla="*/ 0 w 2742"/>
                <a:gd name="T3" fmla="*/ 0 h 3361"/>
                <a:gd name="T4" fmla="*/ 0 w 2742"/>
                <a:gd name="T5" fmla="*/ 0 h 3361"/>
                <a:gd name="T6" fmla="*/ 0 w 2742"/>
                <a:gd name="T7" fmla="*/ 0 h 3361"/>
                <a:gd name="T8" fmla="*/ 0 w 2742"/>
                <a:gd name="T9" fmla="*/ 0 h 3361"/>
                <a:gd name="T10" fmla="*/ 0 w 2742"/>
                <a:gd name="T11" fmla="*/ 0 h 3361"/>
                <a:gd name="T12" fmla="*/ 0 w 2742"/>
                <a:gd name="T13" fmla="*/ 0 h 3361"/>
                <a:gd name="T14" fmla="*/ 0 w 2742"/>
                <a:gd name="T15" fmla="*/ 0 h 3361"/>
                <a:gd name="T16" fmla="*/ 0 w 2742"/>
                <a:gd name="T17" fmla="*/ 0 h 3361"/>
                <a:gd name="T18" fmla="*/ 0 w 2742"/>
                <a:gd name="T19" fmla="*/ 0 h 3361"/>
                <a:gd name="T20" fmla="*/ 0 w 2742"/>
                <a:gd name="T21" fmla="*/ 0 h 3361"/>
                <a:gd name="T22" fmla="*/ 0 w 2742"/>
                <a:gd name="T23" fmla="*/ 0 h 3361"/>
                <a:gd name="T24" fmla="*/ 0 w 2742"/>
                <a:gd name="T25" fmla="*/ 0 h 3361"/>
                <a:gd name="T26" fmla="*/ 0 w 2742"/>
                <a:gd name="T27" fmla="*/ 0 h 3361"/>
                <a:gd name="T28" fmla="*/ 0 w 2742"/>
                <a:gd name="T29" fmla="*/ 0 h 3361"/>
                <a:gd name="T30" fmla="*/ 0 w 2742"/>
                <a:gd name="T31" fmla="*/ 0 h 3361"/>
                <a:gd name="T32" fmla="*/ 0 w 2742"/>
                <a:gd name="T33" fmla="*/ 0 h 3361"/>
                <a:gd name="T34" fmla="*/ 0 w 2742"/>
                <a:gd name="T35" fmla="*/ 0 h 3361"/>
                <a:gd name="T36" fmla="*/ 0 w 2742"/>
                <a:gd name="T37" fmla="*/ 0 h 3361"/>
                <a:gd name="T38" fmla="*/ 0 w 2742"/>
                <a:gd name="T39" fmla="*/ 0 h 3361"/>
                <a:gd name="T40" fmla="*/ 0 w 2742"/>
                <a:gd name="T41" fmla="*/ 0 h 3361"/>
                <a:gd name="T42" fmla="*/ 0 w 2742"/>
                <a:gd name="T43" fmla="*/ 0 h 3361"/>
                <a:gd name="T44" fmla="*/ 0 w 2742"/>
                <a:gd name="T45" fmla="*/ 0 h 3361"/>
                <a:gd name="T46" fmla="*/ 0 w 2742"/>
                <a:gd name="T47" fmla="*/ 0 h 3361"/>
                <a:gd name="T48" fmla="*/ 0 w 2742"/>
                <a:gd name="T49" fmla="*/ 0 h 3361"/>
                <a:gd name="T50" fmla="*/ 0 w 2742"/>
                <a:gd name="T51" fmla="*/ 0 h 3361"/>
                <a:gd name="T52" fmla="*/ 0 w 2742"/>
                <a:gd name="T53" fmla="*/ 0 h 3361"/>
                <a:gd name="T54" fmla="*/ 0 w 2742"/>
                <a:gd name="T55" fmla="*/ 0 h 3361"/>
                <a:gd name="T56" fmla="*/ 0 w 2742"/>
                <a:gd name="T57" fmla="*/ 0 h 3361"/>
                <a:gd name="T58" fmla="*/ 0 w 2742"/>
                <a:gd name="T59" fmla="*/ 0 h 3361"/>
                <a:gd name="T60" fmla="*/ 0 w 2742"/>
                <a:gd name="T61" fmla="*/ 0 h 3361"/>
                <a:gd name="T62" fmla="*/ 0 w 2742"/>
                <a:gd name="T63" fmla="*/ 0 h 3361"/>
                <a:gd name="T64" fmla="*/ 0 w 2742"/>
                <a:gd name="T65" fmla="*/ 0 h 3361"/>
                <a:gd name="T66" fmla="*/ 0 w 2742"/>
                <a:gd name="T67" fmla="*/ 0 h 3361"/>
                <a:gd name="T68" fmla="*/ 0 w 2742"/>
                <a:gd name="T69" fmla="*/ 0 h 3361"/>
                <a:gd name="T70" fmla="*/ 0 w 2742"/>
                <a:gd name="T71" fmla="*/ 0 h 3361"/>
                <a:gd name="T72" fmla="*/ 0 w 2742"/>
                <a:gd name="T73" fmla="*/ 0 h 3361"/>
                <a:gd name="T74" fmla="*/ 0 w 2742"/>
                <a:gd name="T75" fmla="*/ 0 h 3361"/>
                <a:gd name="T76" fmla="*/ 0 w 2742"/>
                <a:gd name="T77" fmla="*/ 0 h 3361"/>
                <a:gd name="T78" fmla="*/ 0 w 2742"/>
                <a:gd name="T79" fmla="*/ 0 h 3361"/>
                <a:gd name="T80" fmla="*/ 0 w 2742"/>
                <a:gd name="T81" fmla="*/ 0 h 3361"/>
                <a:gd name="T82" fmla="*/ 0 w 2742"/>
                <a:gd name="T83" fmla="*/ 0 h 3361"/>
                <a:gd name="T84" fmla="*/ 0 w 2742"/>
                <a:gd name="T85" fmla="*/ 0 h 3361"/>
                <a:gd name="T86" fmla="*/ 0 w 2742"/>
                <a:gd name="T87" fmla="*/ 0 h 3361"/>
                <a:gd name="T88" fmla="*/ 0 w 2742"/>
                <a:gd name="T89" fmla="*/ 0 h 3361"/>
                <a:gd name="T90" fmla="*/ 0 w 2742"/>
                <a:gd name="T91" fmla="*/ 0 h 3361"/>
                <a:gd name="T92" fmla="*/ 0 w 2742"/>
                <a:gd name="T93" fmla="*/ 0 h 3361"/>
                <a:gd name="T94" fmla="*/ 0 w 2742"/>
                <a:gd name="T95" fmla="*/ 0 h 3361"/>
                <a:gd name="T96" fmla="*/ 0 w 2742"/>
                <a:gd name="T97" fmla="*/ 0 h 3361"/>
                <a:gd name="T98" fmla="*/ 0 w 2742"/>
                <a:gd name="T99" fmla="*/ 0 h 3361"/>
                <a:gd name="T100" fmla="*/ 0 w 2742"/>
                <a:gd name="T101" fmla="*/ 0 h 3361"/>
                <a:gd name="T102" fmla="*/ 0 w 2742"/>
                <a:gd name="T103" fmla="*/ 0 h 3361"/>
                <a:gd name="T104" fmla="*/ 0 w 2742"/>
                <a:gd name="T105" fmla="*/ 0 h 3361"/>
                <a:gd name="T106" fmla="*/ 0 w 2742"/>
                <a:gd name="T107" fmla="*/ 0 h 3361"/>
                <a:gd name="T108" fmla="*/ 0 w 2742"/>
                <a:gd name="T109" fmla="*/ 0 h 3361"/>
                <a:gd name="T110" fmla="*/ 0 w 2742"/>
                <a:gd name="T111" fmla="*/ 0 h 3361"/>
                <a:gd name="T112" fmla="*/ 0 w 2742"/>
                <a:gd name="T113" fmla="*/ 0 h 3361"/>
                <a:gd name="T114" fmla="*/ 0 w 2742"/>
                <a:gd name="T115" fmla="*/ 0 h 3361"/>
                <a:gd name="T116" fmla="*/ 0 w 2742"/>
                <a:gd name="T117" fmla="*/ 0 h 33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742"/>
                <a:gd name="T178" fmla="*/ 0 h 3361"/>
                <a:gd name="T179" fmla="*/ 2742 w 2742"/>
                <a:gd name="T180" fmla="*/ 3361 h 33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742" h="3361">
                  <a:moveTo>
                    <a:pt x="239" y="727"/>
                  </a:moveTo>
                  <a:lnTo>
                    <a:pt x="225" y="729"/>
                  </a:lnTo>
                  <a:lnTo>
                    <a:pt x="215" y="736"/>
                  </a:lnTo>
                  <a:lnTo>
                    <a:pt x="207" y="747"/>
                  </a:lnTo>
                  <a:lnTo>
                    <a:pt x="205" y="761"/>
                  </a:lnTo>
                  <a:lnTo>
                    <a:pt x="205" y="3123"/>
                  </a:lnTo>
                  <a:lnTo>
                    <a:pt x="207" y="3136"/>
                  </a:lnTo>
                  <a:lnTo>
                    <a:pt x="215" y="3147"/>
                  </a:lnTo>
                  <a:lnTo>
                    <a:pt x="225" y="3154"/>
                  </a:lnTo>
                  <a:lnTo>
                    <a:pt x="239" y="3157"/>
                  </a:lnTo>
                  <a:lnTo>
                    <a:pt x="2040" y="3157"/>
                  </a:lnTo>
                  <a:lnTo>
                    <a:pt x="2054" y="3154"/>
                  </a:lnTo>
                  <a:lnTo>
                    <a:pt x="2064" y="3147"/>
                  </a:lnTo>
                  <a:lnTo>
                    <a:pt x="2071" y="3136"/>
                  </a:lnTo>
                  <a:lnTo>
                    <a:pt x="2074" y="3123"/>
                  </a:lnTo>
                  <a:lnTo>
                    <a:pt x="2074" y="761"/>
                  </a:lnTo>
                  <a:lnTo>
                    <a:pt x="2071" y="747"/>
                  </a:lnTo>
                  <a:lnTo>
                    <a:pt x="2064" y="736"/>
                  </a:lnTo>
                  <a:lnTo>
                    <a:pt x="2054" y="729"/>
                  </a:lnTo>
                  <a:lnTo>
                    <a:pt x="2040" y="727"/>
                  </a:lnTo>
                  <a:lnTo>
                    <a:pt x="239" y="727"/>
                  </a:lnTo>
                  <a:close/>
                  <a:moveTo>
                    <a:pt x="702" y="204"/>
                  </a:moveTo>
                  <a:lnTo>
                    <a:pt x="688" y="207"/>
                  </a:lnTo>
                  <a:lnTo>
                    <a:pt x="678" y="214"/>
                  </a:lnTo>
                  <a:lnTo>
                    <a:pt x="671" y="225"/>
                  </a:lnTo>
                  <a:lnTo>
                    <a:pt x="668" y="238"/>
                  </a:lnTo>
                  <a:lnTo>
                    <a:pt x="668" y="523"/>
                  </a:lnTo>
                  <a:lnTo>
                    <a:pt x="2040" y="523"/>
                  </a:lnTo>
                  <a:lnTo>
                    <a:pt x="2078" y="526"/>
                  </a:lnTo>
                  <a:lnTo>
                    <a:pt x="2116" y="535"/>
                  </a:lnTo>
                  <a:lnTo>
                    <a:pt x="2150" y="549"/>
                  </a:lnTo>
                  <a:lnTo>
                    <a:pt x="2181" y="568"/>
                  </a:lnTo>
                  <a:lnTo>
                    <a:pt x="2209" y="592"/>
                  </a:lnTo>
                  <a:lnTo>
                    <a:pt x="2232" y="620"/>
                  </a:lnTo>
                  <a:lnTo>
                    <a:pt x="2252" y="651"/>
                  </a:lnTo>
                  <a:lnTo>
                    <a:pt x="2266" y="686"/>
                  </a:lnTo>
                  <a:lnTo>
                    <a:pt x="2276" y="722"/>
                  </a:lnTo>
                  <a:lnTo>
                    <a:pt x="2279" y="761"/>
                  </a:lnTo>
                  <a:lnTo>
                    <a:pt x="2279" y="2634"/>
                  </a:lnTo>
                  <a:lnTo>
                    <a:pt x="2503" y="2634"/>
                  </a:lnTo>
                  <a:lnTo>
                    <a:pt x="2517" y="2632"/>
                  </a:lnTo>
                  <a:lnTo>
                    <a:pt x="2528" y="2624"/>
                  </a:lnTo>
                  <a:lnTo>
                    <a:pt x="2535" y="2614"/>
                  </a:lnTo>
                  <a:lnTo>
                    <a:pt x="2537" y="2600"/>
                  </a:lnTo>
                  <a:lnTo>
                    <a:pt x="2537" y="238"/>
                  </a:lnTo>
                  <a:lnTo>
                    <a:pt x="2535" y="225"/>
                  </a:lnTo>
                  <a:lnTo>
                    <a:pt x="2528" y="214"/>
                  </a:lnTo>
                  <a:lnTo>
                    <a:pt x="2517" y="207"/>
                  </a:lnTo>
                  <a:lnTo>
                    <a:pt x="2503" y="204"/>
                  </a:lnTo>
                  <a:lnTo>
                    <a:pt x="702" y="204"/>
                  </a:lnTo>
                  <a:close/>
                  <a:moveTo>
                    <a:pt x="702" y="0"/>
                  </a:moveTo>
                  <a:lnTo>
                    <a:pt x="2503" y="0"/>
                  </a:lnTo>
                  <a:lnTo>
                    <a:pt x="2542" y="3"/>
                  </a:lnTo>
                  <a:lnTo>
                    <a:pt x="2579" y="13"/>
                  </a:lnTo>
                  <a:lnTo>
                    <a:pt x="2613" y="27"/>
                  </a:lnTo>
                  <a:lnTo>
                    <a:pt x="2645" y="47"/>
                  </a:lnTo>
                  <a:lnTo>
                    <a:pt x="2673" y="70"/>
                  </a:lnTo>
                  <a:lnTo>
                    <a:pt x="2696" y="98"/>
                  </a:lnTo>
                  <a:lnTo>
                    <a:pt x="2716" y="129"/>
                  </a:lnTo>
                  <a:lnTo>
                    <a:pt x="2731" y="163"/>
                  </a:lnTo>
                  <a:lnTo>
                    <a:pt x="2739" y="200"/>
                  </a:lnTo>
                  <a:lnTo>
                    <a:pt x="2742" y="238"/>
                  </a:lnTo>
                  <a:lnTo>
                    <a:pt x="2742" y="2600"/>
                  </a:lnTo>
                  <a:lnTo>
                    <a:pt x="2739" y="2639"/>
                  </a:lnTo>
                  <a:lnTo>
                    <a:pt x="2731" y="2675"/>
                  </a:lnTo>
                  <a:lnTo>
                    <a:pt x="2716" y="2709"/>
                  </a:lnTo>
                  <a:lnTo>
                    <a:pt x="2696" y="2741"/>
                  </a:lnTo>
                  <a:lnTo>
                    <a:pt x="2673" y="2768"/>
                  </a:lnTo>
                  <a:lnTo>
                    <a:pt x="2645" y="2792"/>
                  </a:lnTo>
                  <a:lnTo>
                    <a:pt x="2613" y="2811"/>
                  </a:lnTo>
                  <a:lnTo>
                    <a:pt x="2579" y="2825"/>
                  </a:lnTo>
                  <a:lnTo>
                    <a:pt x="2542" y="2835"/>
                  </a:lnTo>
                  <a:lnTo>
                    <a:pt x="2503" y="2838"/>
                  </a:lnTo>
                  <a:lnTo>
                    <a:pt x="2279" y="2838"/>
                  </a:lnTo>
                  <a:lnTo>
                    <a:pt x="2279" y="3123"/>
                  </a:lnTo>
                  <a:lnTo>
                    <a:pt x="2276" y="3161"/>
                  </a:lnTo>
                  <a:lnTo>
                    <a:pt x="2266" y="3197"/>
                  </a:lnTo>
                  <a:lnTo>
                    <a:pt x="2252" y="3232"/>
                  </a:lnTo>
                  <a:lnTo>
                    <a:pt x="2232" y="3263"/>
                  </a:lnTo>
                  <a:lnTo>
                    <a:pt x="2209" y="3291"/>
                  </a:lnTo>
                  <a:lnTo>
                    <a:pt x="2181" y="3314"/>
                  </a:lnTo>
                  <a:lnTo>
                    <a:pt x="2150" y="3334"/>
                  </a:lnTo>
                  <a:lnTo>
                    <a:pt x="2116" y="3348"/>
                  </a:lnTo>
                  <a:lnTo>
                    <a:pt x="2078" y="3356"/>
                  </a:lnTo>
                  <a:lnTo>
                    <a:pt x="2040" y="3361"/>
                  </a:lnTo>
                  <a:lnTo>
                    <a:pt x="239" y="3361"/>
                  </a:lnTo>
                  <a:lnTo>
                    <a:pt x="199" y="3356"/>
                  </a:lnTo>
                  <a:lnTo>
                    <a:pt x="163" y="3348"/>
                  </a:lnTo>
                  <a:lnTo>
                    <a:pt x="129" y="3334"/>
                  </a:lnTo>
                  <a:lnTo>
                    <a:pt x="97" y="3314"/>
                  </a:lnTo>
                  <a:lnTo>
                    <a:pt x="69" y="3291"/>
                  </a:lnTo>
                  <a:lnTo>
                    <a:pt x="45" y="3263"/>
                  </a:lnTo>
                  <a:lnTo>
                    <a:pt x="27" y="3232"/>
                  </a:lnTo>
                  <a:lnTo>
                    <a:pt x="12" y="3197"/>
                  </a:lnTo>
                  <a:lnTo>
                    <a:pt x="3" y="3161"/>
                  </a:lnTo>
                  <a:lnTo>
                    <a:pt x="0" y="3123"/>
                  </a:lnTo>
                  <a:lnTo>
                    <a:pt x="0" y="761"/>
                  </a:lnTo>
                  <a:lnTo>
                    <a:pt x="3" y="722"/>
                  </a:lnTo>
                  <a:lnTo>
                    <a:pt x="12" y="686"/>
                  </a:lnTo>
                  <a:lnTo>
                    <a:pt x="27" y="651"/>
                  </a:lnTo>
                  <a:lnTo>
                    <a:pt x="45" y="620"/>
                  </a:lnTo>
                  <a:lnTo>
                    <a:pt x="69" y="592"/>
                  </a:lnTo>
                  <a:lnTo>
                    <a:pt x="97" y="568"/>
                  </a:lnTo>
                  <a:lnTo>
                    <a:pt x="129" y="549"/>
                  </a:lnTo>
                  <a:lnTo>
                    <a:pt x="163" y="535"/>
                  </a:lnTo>
                  <a:lnTo>
                    <a:pt x="199" y="526"/>
                  </a:lnTo>
                  <a:lnTo>
                    <a:pt x="239" y="523"/>
                  </a:lnTo>
                  <a:lnTo>
                    <a:pt x="463" y="523"/>
                  </a:lnTo>
                  <a:lnTo>
                    <a:pt x="463" y="238"/>
                  </a:lnTo>
                  <a:lnTo>
                    <a:pt x="466" y="200"/>
                  </a:lnTo>
                  <a:lnTo>
                    <a:pt x="475" y="163"/>
                  </a:lnTo>
                  <a:lnTo>
                    <a:pt x="490" y="129"/>
                  </a:lnTo>
                  <a:lnTo>
                    <a:pt x="510" y="98"/>
                  </a:lnTo>
                  <a:lnTo>
                    <a:pt x="533" y="70"/>
                  </a:lnTo>
                  <a:lnTo>
                    <a:pt x="561" y="47"/>
                  </a:lnTo>
                  <a:lnTo>
                    <a:pt x="592" y="27"/>
                  </a:lnTo>
                  <a:lnTo>
                    <a:pt x="626" y="13"/>
                  </a:lnTo>
                  <a:lnTo>
                    <a:pt x="664" y="3"/>
                  </a:lnTo>
                  <a:lnTo>
                    <a:pt x="7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1" name="Freeform 151"/>
            <p:cNvSpPr>
              <a:spLocks/>
            </p:cNvSpPr>
            <p:nvPr/>
          </p:nvSpPr>
          <p:spPr bwMode="auto">
            <a:xfrm>
              <a:off x="5778" y="2856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0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5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2"/>
                  </a:lnTo>
                  <a:lnTo>
                    <a:pt x="1311" y="193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3"/>
                  </a:lnTo>
                  <a:lnTo>
                    <a:pt x="38" y="182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5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0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2" name="Freeform 152"/>
            <p:cNvSpPr>
              <a:spLocks/>
            </p:cNvSpPr>
            <p:nvPr/>
          </p:nvSpPr>
          <p:spPr bwMode="auto">
            <a:xfrm>
              <a:off x="5778" y="2886"/>
              <a:ext cx="92" cy="14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8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3"/>
                  </a:lnTo>
                  <a:lnTo>
                    <a:pt x="1290" y="202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2"/>
                  </a:lnTo>
                  <a:lnTo>
                    <a:pt x="58" y="193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8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3" name="Freeform 153"/>
            <p:cNvSpPr>
              <a:spLocks/>
            </p:cNvSpPr>
            <p:nvPr/>
          </p:nvSpPr>
          <p:spPr bwMode="auto">
            <a:xfrm>
              <a:off x="5778" y="2917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4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7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4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4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7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4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4" name="Freeform 154"/>
            <p:cNvSpPr>
              <a:spLocks/>
            </p:cNvSpPr>
            <p:nvPr/>
          </p:nvSpPr>
          <p:spPr bwMode="auto">
            <a:xfrm>
              <a:off x="5778" y="2947"/>
              <a:ext cx="92" cy="14"/>
            </a:xfrm>
            <a:custGeom>
              <a:avLst/>
              <a:gdLst>
                <a:gd name="T0" fmla="*/ 0 w 1369"/>
                <a:gd name="T1" fmla="*/ 0 h 203"/>
                <a:gd name="T2" fmla="*/ 0 w 1369"/>
                <a:gd name="T3" fmla="*/ 0 h 203"/>
                <a:gd name="T4" fmla="*/ 0 w 1369"/>
                <a:gd name="T5" fmla="*/ 0 h 203"/>
                <a:gd name="T6" fmla="*/ 0 w 1369"/>
                <a:gd name="T7" fmla="*/ 0 h 203"/>
                <a:gd name="T8" fmla="*/ 0 w 1369"/>
                <a:gd name="T9" fmla="*/ 0 h 203"/>
                <a:gd name="T10" fmla="*/ 0 w 1369"/>
                <a:gd name="T11" fmla="*/ 0 h 203"/>
                <a:gd name="T12" fmla="*/ 0 w 1369"/>
                <a:gd name="T13" fmla="*/ 0 h 203"/>
                <a:gd name="T14" fmla="*/ 0 w 1369"/>
                <a:gd name="T15" fmla="*/ 0 h 203"/>
                <a:gd name="T16" fmla="*/ 0 w 1369"/>
                <a:gd name="T17" fmla="*/ 0 h 203"/>
                <a:gd name="T18" fmla="*/ 0 w 1369"/>
                <a:gd name="T19" fmla="*/ 0 h 203"/>
                <a:gd name="T20" fmla="*/ 0 w 1369"/>
                <a:gd name="T21" fmla="*/ 0 h 203"/>
                <a:gd name="T22" fmla="*/ 0 w 1369"/>
                <a:gd name="T23" fmla="*/ 0 h 203"/>
                <a:gd name="T24" fmla="*/ 0 w 1369"/>
                <a:gd name="T25" fmla="*/ 0 h 203"/>
                <a:gd name="T26" fmla="*/ 0 w 1369"/>
                <a:gd name="T27" fmla="*/ 0 h 203"/>
                <a:gd name="T28" fmla="*/ 0 w 1369"/>
                <a:gd name="T29" fmla="*/ 0 h 203"/>
                <a:gd name="T30" fmla="*/ 0 w 1369"/>
                <a:gd name="T31" fmla="*/ 0 h 203"/>
                <a:gd name="T32" fmla="*/ 0 w 1369"/>
                <a:gd name="T33" fmla="*/ 0 h 203"/>
                <a:gd name="T34" fmla="*/ 0 w 1369"/>
                <a:gd name="T35" fmla="*/ 0 h 203"/>
                <a:gd name="T36" fmla="*/ 0 w 1369"/>
                <a:gd name="T37" fmla="*/ 0 h 203"/>
                <a:gd name="T38" fmla="*/ 0 w 1369"/>
                <a:gd name="T39" fmla="*/ 0 h 203"/>
                <a:gd name="T40" fmla="*/ 0 w 1369"/>
                <a:gd name="T41" fmla="*/ 0 h 203"/>
                <a:gd name="T42" fmla="*/ 0 w 1369"/>
                <a:gd name="T43" fmla="*/ 0 h 203"/>
                <a:gd name="T44" fmla="*/ 0 w 1369"/>
                <a:gd name="T45" fmla="*/ 0 h 203"/>
                <a:gd name="T46" fmla="*/ 0 w 1369"/>
                <a:gd name="T47" fmla="*/ 0 h 203"/>
                <a:gd name="T48" fmla="*/ 0 w 1369"/>
                <a:gd name="T49" fmla="*/ 0 h 203"/>
                <a:gd name="T50" fmla="*/ 0 w 1369"/>
                <a:gd name="T51" fmla="*/ 0 h 203"/>
                <a:gd name="T52" fmla="*/ 0 w 1369"/>
                <a:gd name="T53" fmla="*/ 0 h 203"/>
                <a:gd name="T54" fmla="*/ 0 w 1369"/>
                <a:gd name="T55" fmla="*/ 0 h 203"/>
                <a:gd name="T56" fmla="*/ 0 w 1369"/>
                <a:gd name="T57" fmla="*/ 0 h 203"/>
                <a:gd name="T58" fmla="*/ 0 w 1369"/>
                <a:gd name="T59" fmla="*/ 0 h 203"/>
                <a:gd name="T60" fmla="*/ 0 w 1369"/>
                <a:gd name="T61" fmla="*/ 0 h 20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3"/>
                <a:gd name="T95" fmla="*/ 1369 w 1369"/>
                <a:gd name="T96" fmla="*/ 203 h 20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3">
                  <a:moveTo>
                    <a:pt x="102" y="0"/>
                  </a:moveTo>
                  <a:lnTo>
                    <a:pt x="1267" y="0"/>
                  </a:lnTo>
                  <a:lnTo>
                    <a:pt x="1290" y="2"/>
                  </a:lnTo>
                  <a:lnTo>
                    <a:pt x="1311" y="10"/>
                  </a:lnTo>
                  <a:lnTo>
                    <a:pt x="1331" y="22"/>
                  </a:lnTo>
                  <a:lnTo>
                    <a:pt x="1346" y="38"/>
                  </a:lnTo>
                  <a:lnTo>
                    <a:pt x="1359" y="56"/>
                  </a:lnTo>
                  <a:lnTo>
                    <a:pt x="1366" y="78"/>
                  </a:lnTo>
                  <a:lnTo>
                    <a:pt x="1369" y="101"/>
                  </a:lnTo>
                  <a:lnTo>
                    <a:pt x="1366" y="125"/>
                  </a:lnTo>
                  <a:lnTo>
                    <a:pt x="1359" y="145"/>
                  </a:lnTo>
                  <a:lnTo>
                    <a:pt x="1346" y="165"/>
                  </a:lnTo>
                  <a:lnTo>
                    <a:pt x="1331" y="180"/>
                  </a:lnTo>
                  <a:lnTo>
                    <a:pt x="1311" y="193"/>
                  </a:lnTo>
                  <a:lnTo>
                    <a:pt x="1290" y="200"/>
                  </a:lnTo>
                  <a:lnTo>
                    <a:pt x="1267" y="203"/>
                  </a:lnTo>
                  <a:lnTo>
                    <a:pt x="102" y="203"/>
                  </a:lnTo>
                  <a:lnTo>
                    <a:pt x="78" y="200"/>
                  </a:lnTo>
                  <a:lnTo>
                    <a:pt x="58" y="193"/>
                  </a:lnTo>
                  <a:lnTo>
                    <a:pt x="38" y="180"/>
                  </a:lnTo>
                  <a:lnTo>
                    <a:pt x="22" y="165"/>
                  </a:lnTo>
                  <a:lnTo>
                    <a:pt x="10" y="145"/>
                  </a:lnTo>
                  <a:lnTo>
                    <a:pt x="3" y="125"/>
                  </a:lnTo>
                  <a:lnTo>
                    <a:pt x="0" y="101"/>
                  </a:lnTo>
                  <a:lnTo>
                    <a:pt x="3" y="78"/>
                  </a:lnTo>
                  <a:lnTo>
                    <a:pt x="10" y="56"/>
                  </a:lnTo>
                  <a:lnTo>
                    <a:pt x="22" y="38"/>
                  </a:lnTo>
                  <a:lnTo>
                    <a:pt x="38" y="22"/>
                  </a:lnTo>
                  <a:lnTo>
                    <a:pt x="58" y="10"/>
                  </a:lnTo>
                  <a:lnTo>
                    <a:pt x="78" y="2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sp>
        <p:nvSpPr>
          <p:cNvPr id="31" name="Round Diagonal Corner Rectangle 30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2" name="Rectangle 34"/>
          <p:cNvSpPr>
            <a:spLocks noChangeArrowheads="1"/>
          </p:cNvSpPr>
          <p:nvPr/>
        </p:nvSpPr>
        <p:spPr bwMode="auto">
          <a:xfrm>
            <a:off x="6112416" y="2868931"/>
            <a:ext cx="2702708" cy="54910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Cele/ korzyści planowane do osiągnięcia</a:t>
            </a:r>
          </a:p>
        </p:txBody>
      </p:sp>
      <p:sp>
        <p:nvSpPr>
          <p:cNvPr id="33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35" name="Text Placeholder 2"/>
          <p:cNvSpPr txBox="1">
            <a:spLocks/>
          </p:cNvSpPr>
          <p:nvPr/>
        </p:nvSpPr>
        <p:spPr bwMode="auto">
          <a:xfrm>
            <a:off x="5253382" y="3380702"/>
            <a:ext cx="4246166" cy="2424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Poprawa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jakości kapitału ludzkiego i społecznego.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Przygotowani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młodych ludzi do bycia „cyfrowymi obywatelami” oraz cyfrowymi twórcami.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Lepsz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dostosowanie procesu kształcenia do potrzeb nowoczesnej gospodarki.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Podniesieni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poziomu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innowacyjności gospodarki</a:t>
            </a: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Trwał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podniesienie poziomu kształcenia w szkołach.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Efektywn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wykorzystanie posiadanych i planowanych do wytworzenia e-zasobów i e-narzędzi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Promocja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istniejących repozytoriów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zasobów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Redukcja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cyfrowego wykluczenia osób starszych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0870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373232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2262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aphicFrame>
        <p:nvGraphicFramePr>
          <p:cNvPr id="75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9308767"/>
              </p:ext>
            </p:extLst>
          </p:nvPr>
        </p:nvGraphicFramePr>
        <p:xfrm>
          <a:off x="457200" y="1186354"/>
          <a:ext cx="8991600" cy="23640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8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94612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954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91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b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ządowy program „Aktywna tablica”</a:t>
                      </a:r>
                      <a:endParaRPr lang="pl-PL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 2019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b="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gólnopolska Sieć Edukacyjna</a:t>
                      </a:r>
                      <a:endParaRPr lang="pl-PL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7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b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ozwijanie kompetencji cyfrowych  nauczycieli, w tym projekty realizowane w ramach POPC</a:t>
                      </a:r>
                      <a:endParaRPr lang="pl-PL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b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ozwijanie kompetencji cyfrowych uczniów (w tym wdrożenie nowej podstawy programowej)</a:t>
                      </a:r>
                      <a:endParaRPr lang="pl-PL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b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worzenie e-materiałów do kształcenia ogólnego i zawodowego</a:t>
                      </a:r>
                      <a:endParaRPr lang="pl-PL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l-PL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23</a:t>
                      </a:r>
                      <a:endParaRPr lang="pl-PL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racowanie rekomendacji </a:t>
                      </a:r>
                      <a:r>
                        <a:rPr lang="pl-PL" sz="1100" b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 zakresie wyposażenia szkół i</a:t>
                      </a:r>
                      <a:r>
                        <a:rPr lang="pl-PL" sz="1100" b="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posobu wykorzystania technologii informatycznych w procesie nauczania – Wizja Cyfrowej Szkoły</a:t>
                      </a:r>
                      <a:endParaRPr lang="pl-PL" sz="1800" b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2 2019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ruchomienie zintegrowanej platformy edukacyjnej</a:t>
                      </a:r>
                      <a:endParaRPr lang="pl-PL" sz="1800" b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1 2019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5366" name="Title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675439" cy="831850"/>
          </a:xfrm>
        </p:spPr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Cele strumienia </a:t>
            </a:r>
            <a:r>
              <a:rPr lang="pl-PL" altLang="pl-PL" dirty="0" smtClean="0">
                <a:solidFill>
                  <a:srgbClr val="DC6E00"/>
                </a:solidFill>
              </a:rPr>
              <a:t>e-Edukacja </a:t>
            </a:r>
            <a:r>
              <a:rPr lang="pl-PL" altLang="pl-PL" dirty="0" smtClean="0">
                <a:solidFill>
                  <a:srgbClr val="0166B6"/>
                </a:solidFill>
              </a:rPr>
              <a:t>są aktualnie realizowane </a:t>
            </a:r>
            <a:r>
              <a:rPr lang="pl-PL" altLang="pl-PL" dirty="0">
                <a:solidFill>
                  <a:srgbClr val="0166B6"/>
                </a:solidFill>
              </a:rPr>
              <a:t>w ramach </a:t>
            </a:r>
            <a:r>
              <a:rPr lang="pl-PL" altLang="pl-PL" dirty="0" smtClean="0">
                <a:solidFill>
                  <a:srgbClr val="DC6E00"/>
                </a:solidFill>
              </a:rPr>
              <a:t>7 głównych projektów</a:t>
            </a:r>
            <a:endParaRPr lang="pl-PL" altLang="pl-PL" dirty="0">
              <a:solidFill>
                <a:srgbClr val="0166B6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928688" y="6497638"/>
            <a:ext cx="815975" cy="261938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34" name="Oval 33"/>
          <p:cNvSpPr/>
          <p:nvPr/>
        </p:nvSpPr>
        <p:spPr bwMode="gray">
          <a:xfrm>
            <a:off x="2209800" y="6527007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5" name="Arc 34"/>
          <p:cNvSpPr/>
          <p:nvPr/>
        </p:nvSpPr>
        <p:spPr bwMode="gray">
          <a:xfrm>
            <a:off x="2209800" y="6527007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525713" y="6497638"/>
            <a:ext cx="1252538" cy="261938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</a:t>
            </a:r>
            <a:r>
              <a:rPr lang="pl-PL" sz="1100" dirty="0" smtClean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race </a:t>
            </a: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koncepcyjne</a:t>
            </a:r>
          </a:p>
        </p:txBody>
      </p:sp>
      <p:sp>
        <p:nvSpPr>
          <p:cNvPr id="37" name="Oval 36"/>
          <p:cNvSpPr/>
          <p:nvPr/>
        </p:nvSpPr>
        <p:spPr bwMode="gray">
          <a:xfrm>
            <a:off x="3984625" y="6527007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8" name="Arc 37"/>
          <p:cNvSpPr/>
          <p:nvPr/>
        </p:nvSpPr>
        <p:spPr bwMode="gray">
          <a:xfrm>
            <a:off x="3992563" y="6527007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4330700" y="6497638"/>
            <a:ext cx="1811338" cy="261938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40" name="Oval 39"/>
          <p:cNvSpPr/>
          <p:nvPr/>
        </p:nvSpPr>
        <p:spPr bwMode="gray">
          <a:xfrm>
            <a:off x="8177213" y="6527007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8394700" y="6497638"/>
            <a:ext cx="862013" cy="261938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42" name="Oval 41"/>
          <p:cNvSpPr/>
          <p:nvPr>
            <p:custDataLst>
              <p:tags r:id="rId4"/>
            </p:custDataLst>
          </p:nvPr>
        </p:nvSpPr>
        <p:spPr bwMode="gray">
          <a:xfrm>
            <a:off x="720725" y="64928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4" name="Oval 128"/>
          <p:cNvSpPr/>
          <p:nvPr/>
        </p:nvSpPr>
        <p:spPr bwMode="gray">
          <a:xfrm>
            <a:off x="6257925" y="6527007"/>
            <a:ext cx="203200" cy="2032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5" name="pole tekstowe 4"/>
          <p:cNvSpPr txBox="1"/>
          <p:nvPr/>
        </p:nvSpPr>
        <p:spPr>
          <a:xfrm>
            <a:off x="6461125" y="6453188"/>
            <a:ext cx="1368425" cy="350838"/>
          </a:xfrm>
          <a:prstGeom prst="rect">
            <a:avLst/>
          </a:prstGeom>
          <a:noFill/>
        </p:spPr>
        <p:txBody>
          <a:bodyPr wrap="square" tIns="90000" bIns="90000" rtlCol="0" anchor="ctr">
            <a:spAutoFit/>
          </a:bodyPr>
          <a:lstStyle/>
          <a:p>
            <a:pPr algn="ctr"/>
            <a:r>
              <a:rPr lang="pl-PL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 trakcie realizacji</a:t>
            </a:r>
          </a:p>
        </p:txBody>
      </p:sp>
      <p:grpSp>
        <p:nvGrpSpPr>
          <p:cNvPr id="29" name="Grupa 28"/>
          <p:cNvGrpSpPr/>
          <p:nvPr/>
        </p:nvGrpSpPr>
        <p:grpSpPr>
          <a:xfrm>
            <a:off x="7257256" y="2956117"/>
            <a:ext cx="227445" cy="209283"/>
            <a:chOff x="5457056" y="70487"/>
            <a:chExt cx="203200" cy="203200"/>
          </a:xfrm>
        </p:grpSpPr>
        <p:sp>
          <p:nvSpPr>
            <p:cNvPr id="31" name="Oval 128"/>
            <p:cNvSpPr/>
            <p:nvPr>
              <p:custDataLst>
                <p:tags r:id="rId16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Arc 136"/>
            <p:cNvSpPr/>
            <p:nvPr>
              <p:custDataLst>
                <p:tags r:id="rId17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Grupa 42"/>
          <p:cNvGrpSpPr/>
          <p:nvPr/>
        </p:nvGrpSpPr>
        <p:grpSpPr>
          <a:xfrm>
            <a:off x="7257256" y="3219717"/>
            <a:ext cx="227445" cy="209283"/>
            <a:chOff x="5457056" y="70487"/>
            <a:chExt cx="203200" cy="203200"/>
          </a:xfrm>
        </p:grpSpPr>
        <p:sp>
          <p:nvSpPr>
            <p:cNvPr id="46" name="Oval 128"/>
            <p:cNvSpPr/>
            <p:nvPr>
              <p:custDataLst>
                <p:tags r:id="rId14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Arc 136"/>
            <p:cNvSpPr/>
            <p:nvPr>
              <p:custDataLst>
                <p:tags r:id="rId15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8" name="Grupa 47"/>
          <p:cNvGrpSpPr/>
          <p:nvPr/>
        </p:nvGrpSpPr>
        <p:grpSpPr>
          <a:xfrm>
            <a:off x="7257256" y="2674097"/>
            <a:ext cx="227445" cy="209283"/>
            <a:chOff x="5457056" y="70487"/>
            <a:chExt cx="203200" cy="203200"/>
          </a:xfrm>
        </p:grpSpPr>
        <p:sp>
          <p:nvSpPr>
            <p:cNvPr id="49" name="Oval 128"/>
            <p:cNvSpPr/>
            <p:nvPr>
              <p:custDataLst>
                <p:tags r:id="rId12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Arc 136"/>
            <p:cNvSpPr/>
            <p:nvPr>
              <p:custDataLst>
                <p:tags r:id="rId13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1" name="Grupa 50"/>
          <p:cNvGrpSpPr/>
          <p:nvPr/>
        </p:nvGrpSpPr>
        <p:grpSpPr>
          <a:xfrm>
            <a:off x="7267594" y="1892400"/>
            <a:ext cx="206768" cy="209283"/>
            <a:chOff x="5457056" y="70487"/>
            <a:chExt cx="203200" cy="203200"/>
          </a:xfrm>
        </p:grpSpPr>
        <p:sp>
          <p:nvSpPr>
            <p:cNvPr id="52" name="Oval 128"/>
            <p:cNvSpPr/>
            <p:nvPr>
              <p:custDataLst>
                <p:tags r:id="rId10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Arc 136"/>
            <p:cNvSpPr/>
            <p:nvPr>
              <p:custDataLst>
                <p:tags r:id="rId11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5" name="Grupa 54"/>
          <p:cNvGrpSpPr/>
          <p:nvPr/>
        </p:nvGrpSpPr>
        <p:grpSpPr>
          <a:xfrm>
            <a:off x="7249529" y="2416359"/>
            <a:ext cx="223520" cy="199771"/>
            <a:chOff x="6978703" y="193675"/>
            <a:chExt cx="203200" cy="203200"/>
          </a:xfrm>
        </p:grpSpPr>
        <p:sp>
          <p:nvSpPr>
            <p:cNvPr id="56" name="Oval 128"/>
            <p:cNvSpPr/>
            <p:nvPr>
              <p:custDataLst>
                <p:tags r:id="rId8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Arc 1"/>
            <p:cNvSpPr/>
            <p:nvPr>
              <p:custDataLst>
                <p:tags r:id="rId9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8" name="Grupa 57"/>
          <p:cNvGrpSpPr/>
          <p:nvPr/>
        </p:nvGrpSpPr>
        <p:grpSpPr>
          <a:xfrm>
            <a:off x="7257256" y="2143247"/>
            <a:ext cx="223520" cy="199771"/>
            <a:chOff x="6978703" y="193675"/>
            <a:chExt cx="203200" cy="203200"/>
          </a:xfrm>
        </p:grpSpPr>
        <p:sp>
          <p:nvSpPr>
            <p:cNvPr id="59" name="Oval 128"/>
            <p:cNvSpPr/>
            <p:nvPr>
              <p:custDataLst>
                <p:tags r:id="rId6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Arc 1"/>
            <p:cNvSpPr/>
            <p:nvPr>
              <p:custDataLst>
                <p:tags r:id="rId7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sp>
        <p:nvSpPr>
          <p:cNvPr id="61" name="Arc 27"/>
          <p:cNvSpPr/>
          <p:nvPr>
            <p:custDataLst>
              <p:tags r:id="rId5"/>
            </p:custDataLst>
          </p:nvPr>
        </p:nvSpPr>
        <p:spPr bwMode="gray">
          <a:xfrm>
            <a:off x="7278038" y="1628800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6938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4826606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328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zy biznesowi: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. Szewczyk (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IAP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, T. 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Huś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(PZU Lab), </a:t>
            </a:r>
            <a:b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	                   M. Ponikowska (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BE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, S. Szymański (UW)</a:t>
            </a:r>
            <a:endParaRPr lang="pl-PL" sz="1517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y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: M. Groń (MC), J. 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taniłko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PIT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pl-PL" sz="1517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 smtClean="0">
                <a:solidFill>
                  <a:srgbClr val="0166B6"/>
                </a:solidFill>
              </a:rPr>
              <a:t>Strumień</a:t>
            </a:r>
            <a:r>
              <a:rPr lang="pl-PL" altLang="pl-PL" dirty="0" smtClean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Sztuczna Inteligencja </a:t>
            </a:r>
            <a:r>
              <a:rPr lang="pl-PL" altLang="pl-PL" dirty="0" smtClean="0">
                <a:solidFill>
                  <a:srgbClr val="0166B6"/>
                </a:solidFill>
              </a:rPr>
              <a:t>realizuje inicjatywy z </a:t>
            </a:r>
            <a:r>
              <a:rPr lang="pl-PL" altLang="pl-PL" dirty="0">
                <a:solidFill>
                  <a:srgbClr val="0166B6"/>
                </a:solidFill>
              </a:rPr>
              <a:t>zakresu </a:t>
            </a:r>
            <a:r>
              <a:rPr lang="pl-PL" altLang="pl-PL" dirty="0" smtClean="0">
                <a:solidFill>
                  <a:srgbClr val="0166B6"/>
                </a:solidFill>
              </a:rPr>
              <a:t>budowy </a:t>
            </a:r>
            <a:r>
              <a:rPr lang="pl-PL" altLang="pl-PL" dirty="0">
                <a:solidFill>
                  <a:srgbClr val="0166B6"/>
                </a:solidFill>
              </a:rPr>
              <a:t>środowiska dla lepszego rozwoju i wykorzystania </a:t>
            </a:r>
            <a:r>
              <a:rPr lang="pl-PL" altLang="pl-PL" dirty="0" smtClean="0">
                <a:solidFill>
                  <a:srgbClr val="0166B6"/>
                </a:solidFill>
              </a:rPr>
              <a:t>SI</a:t>
            </a:r>
          </a:p>
        </p:txBody>
      </p:sp>
      <p:sp>
        <p:nvSpPr>
          <p:cNvPr id="52" name="FlowTriangle"/>
          <p:cNvSpPr>
            <a:spLocks noChangeArrowheads="1"/>
          </p:cNvSpPr>
          <p:nvPr/>
        </p:nvSpPr>
        <p:spPr bwMode="gray">
          <a:xfrm rot="5400000">
            <a:off x="4122663" y="4273847"/>
            <a:ext cx="1738709" cy="234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84419" tIns="42210" rIns="84419" bIns="42210" anchor="ctr"/>
          <a:lstStyle/>
          <a:p>
            <a:pPr algn="ctr">
              <a:defRPr/>
            </a:pPr>
            <a:endParaRPr lang="pl-PL" sz="13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357156" y="3008171"/>
            <a:ext cx="2702708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Kluczowe osiągnięcia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6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202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Zintegrowani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rozproszonych działań w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obrębie administracji;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stworzenie roboczej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platformy dla poszukiwania synergii międzysektorowych 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Wskazanie sektorów /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nisz polskiej gospodarki pod kątem potencjału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AI</a:t>
            </a: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Konkretne propozycje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w zakresi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budowania przewag konkurencyjnych, interwencji państwa, propozycji działań, finansowania,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regulacji i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projektów </a:t>
            </a:r>
            <a:endParaRPr lang="pl-PL" altLang="pl-PL" sz="1300" dirty="0" smtClean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Zorganizowanie k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onferencji na temat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AI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Wypracowanie rządowej strategii rozwoju AI w Polsce</a:t>
            </a: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9" name="Group 148"/>
          <p:cNvGrpSpPr>
            <a:grpSpLocks noChangeAspect="1"/>
          </p:cNvGrpSpPr>
          <p:nvPr/>
        </p:nvGrpSpPr>
        <p:grpSpPr bwMode="auto">
          <a:xfrm>
            <a:off x="771586" y="1926929"/>
            <a:ext cx="584691" cy="703355"/>
            <a:chOff x="5748" y="2786"/>
            <a:chExt cx="202" cy="243"/>
          </a:xfrm>
        </p:grpSpPr>
        <p:sp>
          <p:nvSpPr>
            <p:cNvPr id="20" name="Freeform 150"/>
            <p:cNvSpPr>
              <a:spLocks noEditPoints="1"/>
            </p:cNvSpPr>
            <p:nvPr/>
          </p:nvSpPr>
          <p:spPr bwMode="auto">
            <a:xfrm>
              <a:off x="5748" y="2786"/>
              <a:ext cx="202" cy="243"/>
            </a:xfrm>
            <a:custGeom>
              <a:avLst/>
              <a:gdLst>
                <a:gd name="T0" fmla="*/ 0 w 2742"/>
                <a:gd name="T1" fmla="*/ 0 h 3361"/>
                <a:gd name="T2" fmla="*/ 0 w 2742"/>
                <a:gd name="T3" fmla="*/ 0 h 3361"/>
                <a:gd name="T4" fmla="*/ 0 w 2742"/>
                <a:gd name="T5" fmla="*/ 0 h 3361"/>
                <a:gd name="T6" fmla="*/ 0 w 2742"/>
                <a:gd name="T7" fmla="*/ 0 h 3361"/>
                <a:gd name="T8" fmla="*/ 0 w 2742"/>
                <a:gd name="T9" fmla="*/ 0 h 3361"/>
                <a:gd name="T10" fmla="*/ 0 w 2742"/>
                <a:gd name="T11" fmla="*/ 0 h 3361"/>
                <a:gd name="T12" fmla="*/ 0 w 2742"/>
                <a:gd name="T13" fmla="*/ 0 h 3361"/>
                <a:gd name="T14" fmla="*/ 0 w 2742"/>
                <a:gd name="T15" fmla="*/ 0 h 3361"/>
                <a:gd name="T16" fmla="*/ 0 w 2742"/>
                <a:gd name="T17" fmla="*/ 0 h 3361"/>
                <a:gd name="T18" fmla="*/ 0 w 2742"/>
                <a:gd name="T19" fmla="*/ 0 h 3361"/>
                <a:gd name="T20" fmla="*/ 0 w 2742"/>
                <a:gd name="T21" fmla="*/ 0 h 3361"/>
                <a:gd name="T22" fmla="*/ 0 w 2742"/>
                <a:gd name="T23" fmla="*/ 0 h 3361"/>
                <a:gd name="T24" fmla="*/ 0 w 2742"/>
                <a:gd name="T25" fmla="*/ 0 h 3361"/>
                <a:gd name="T26" fmla="*/ 0 w 2742"/>
                <a:gd name="T27" fmla="*/ 0 h 3361"/>
                <a:gd name="T28" fmla="*/ 0 w 2742"/>
                <a:gd name="T29" fmla="*/ 0 h 3361"/>
                <a:gd name="T30" fmla="*/ 0 w 2742"/>
                <a:gd name="T31" fmla="*/ 0 h 3361"/>
                <a:gd name="T32" fmla="*/ 0 w 2742"/>
                <a:gd name="T33" fmla="*/ 0 h 3361"/>
                <a:gd name="T34" fmla="*/ 0 w 2742"/>
                <a:gd name="T35" fmla="*/ 0 h 3361"/>
                <a:gd name="T36" fmla="*/ 0 w 2742"/>
                <a:gd name="T37" fmla="*/ 0 h 3361"/>
                <a:gd name="T38" fmla="*/ 0 w 2742"/>
                <a:gd name="T39" fmla="*/ 0 h 3361"/>
                <a:gd name="T40" fmla="*/ 0 w 2742"/>
                <a:gd name="T41" fmla="*/ 0 h 3361"/>
                <a:gd name="T42" fmla="*/ 0 w 2742"/>
                <a:gd name="T43" fmla="*/ 0 h 3361"/>
                <a:gd name="T44" fmla="*/ 0 w 2742"/>
                <a:gd name="T45" fmla="*/ 0 h 3361"/>
                <a:gd name="T46" fmla="*/ 0 w 2742"/>
                <a:gd name="T47" fmla="*/ 0 h 3361"/>
                <a:gd name="T48" fmla="*/ 0 w 2742"/>
                <a:gd name="T49" fmla="*/ 0 h 3361"/>
                <a:gd name="T50" fmla="*/ 0 w 2742"/>
                <a:gd name="T51" fmla="*/ 0 h 3361"/>
                <a:gd name="T52" fmla="*/ 0 w 2742"/>
                <a:gd name="T53" fmla="*/ 0 h 3361"/>
                <a:gd name="T54" fmla="*/ 0 w 2742"/>
                <a:gd name="T55" fmla="*/ 0 h 3361"/>
                <a:gd name="T56" fmla="*/ 0 w 2742"/>
                <a:gd name="T57" fmla="*/ 0 h 3361"/>
                <a:gd name="T58" fmla="*/ 0 w 2742"/>
                <a:gd name="T59" fmla="*/ 0 h 3361"/>
                <a:gd name="T60" fmla="*/ 0 w 2742"/>
                <a:gd name="T61" fmla="*/ 0 h 3361"/>
                <a:gd name="T62" fmla="*/ 0 w 2742"/>
                <a:gd name="T63" fmla="*/ 0 h 3361"/>
                <a:gd name="T64" fmla="*/ 0 w 2742"/>
                <a:gd name="T65" fmla="*/ 0 h 3361"/>
                <a:gd name="T66" fmla="*/ 0 w 2742"/>
                <a:gd name="T67" fmla="*/ 0 h 3361"/>
                <a:gd name="T68" fmla="*/ 0 w 2742"/>
                <a:gd name="T69" fmla="*/ 0 h 3361"/>
                <a:gd name="T70" fmla="*/ 0 w 2742"/>
                <a:gd name="T71" fmla="*/ 0 h 3361"/>
                <a:gd name="T72" fmla="*/ 0 w 2742"/>
                <a:gd name="T73" fmla="*/ 0 h 3361"/>
                <a:gd name="T74" fmla="*/ 0 w 2742"/>
                <a:gd name="T75" fmla="*/ 0 h 3361"/>
                <a:gd name="T76" fmla="*/ 0 w 2742"/>
                <a:gd name="T77" fmla="*/ 0 h 3361"/>
                <a:gd name="T78" fmla="*/ 0 w 2742"/>
                <a:gd name="T79" fmla="*/ 0 h 3361"/>
                <a:gd name="T80" fmla="*/ 0 w 2742"/>
                <a:gd name="T81" fmla="*/ 0 h 3361"/>
                <a:gd name="T82" fmla="*/ 0 w 2742"/>
                <a:gd name="T83" fmla="*/ 0 h 3361"/>
                <a:gd name="T84" fmla="*/ 0 w 2742"/>
                <a:gd name="T85" fmla="*/ 0 h 3361"/>
                <a:gd name="T86" fmla="*/ 0 w 2742"/>
                <a:gd name="T87" fmla="*/ 0 h 3361"/>
                <a:gd name="T88" fmla="*/ 0 w 2742"/>
                <a:gd name="T89" fmla="*/ 0 h 3361"/>
                <a:gd name="T90" fmla="*/ 0 w 2742"/>
                <a:gd name="T91" fmla="*/ 0 h 3361"/>
                <a:gd name="T92" fmla="*/ 0 w 2742"/>
                <a:gd name="T93" fmla="*/ 0 h 3361"/>
                <a:gd name="T94" fmla="*/ 0 w 2742"/>
                <a:gd name="T95" fmla="*/ 0 h 3361"/>
                <a:gd name="T96" fmla="*/ 0 w 2742"/>
                <a:gd name="T97" fmla="*/ 0 h 3361"/>
                <a:gd name="T98" fmla="*/ 0 w 2742"/>
                <a:gd name="T99" fmla="*/ 0 h 3361"/>
                <a:gd name="T100" fmla="*/ 0 w 2742"/>
                <a:gd name="T101" fmla="*/ 0 h 3361"/>
                <a:gd name="T102" fmla="*/ 0 w 2742"/>
                <a:gd name="T103" fmla="*/ 0 h 3361"/>
                <a:gd name="T104" fmla="*/ 0 w 2742"/>
                <a:gd name="T105" fmla="*/ 0 h 3361"/>
                <a:gd name="T106" fmla="*/ 0 w 2742"/>
                <a:gd name="T107" fmla="*/ 0 h 3361"/>
                <a:gd name="T108" fmla="*/ 0 w 2742"/>
                <a:gd name="T109" fmla="*/ 0 h 3361"/>
                <a:gd name="T110" fmla="*/ 0 w 2742"/>
                <a:gd name="T111" fmla="*/ 0 h 3361"/>
                <a:gd name="T112" fmla="*/ 0 w 2742"/>
                <a:gd name="T113" fmla="*/ 0 h 3361"/>
                <a:gd name="T114" fmla="*/ 0 w 2742"/>
                <a:gd name="T115" fmla="*/ 0 h 3361"/>
                <a:gd name="T116" fmla="*/ 0 w 2742"/>
                <a:gd name="T117" fmla="*/ 0 h 33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742"/>
                <a:gd name="T178" fmla="*/ 0 h 3361"/>
                <a:gd name="T179" fmla="*/ 2742 w 2742"/>
                <a:gd name="T180" fmla="*/ 3361 h 33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742" h="3361">
                  <a:moveTo>
                    <a:pt x="239" y="727"/>
                  </a:moveTo>
                  <a:lnTo>
                    <a:pt x="225" y="729"/>
                  </a:lnTo>
                  <a:lnTo>
                    <a:pt x="215" y="736"/>
                  </a:lnTo>
                  <a:lnTo>
                    <a:pt x="207" y="747"/>
                  </a:lnTo>
                  <a:lnTo>
                    <a:pt x="205" y="761"/>
                  </a:lnTo>
                  <a:lnTo>
                    <a:pt x="205" y="3123"/>
                  </a:lnTo>
                  <a:lnTo>
                    <a:pt x="207" y="3136"/>
                  </a:lnTo>
                  <a:lnTo>
                    <a:pt x="215" y="3147"/>
                  </a:lnTo>
                  <a:lnTo>
                    <a:pt x="225" y="3154"/>
                  </a:lnTo>
                  <a:lnTo>
                    <a:pt x="239" y="3157"/>
                  </a:lnTo>
                  <a:lnTo>
                    <a:pt x="2040" y="3157"/>
                  </a:lnTo>
                  <a:lnTo>
                    <a:pt x="2054" y="3154"/>
                  </a:lnTo>
                  <a:lnTo>
                    <a:pt x="2064" y="3147"/>
                  </a:lnTo>
                  <a:lnTo>
                    <a:pt x="2071" y="3136"/>
                  </a:lnTo>
                  <a:lnTo>
                    <a:pt x="2074" y="3123"/>
                  </a:lnTo>
                  <a:lnTo>
                    <a:pt x="2074" y="761"/>
                  </a:lnTo>
                  <a:lnTo>
                    <a:pt x="2071" y="747"/>
                  </a:lnTo>
                  <a:lnTo>
                    <a:pt x="2064" y="736"/>
                  </a:lnTo>
                  <a:lnTo>
                    <a:pt x="2054" y="729"/>
                  </a:lnTo>
                  <a:lnTo>
                    <a:pt x="2040" y="727"/>
                  </a:lnTo>
                  <a:lnTo>
                    <a:pt x="239" y="727"/>
                  </a:lnTo>
                  <a:close/>
                  <a:moveTo>
                    <a:pt x="702" y="204"/>
                  </a:moveTo>
                  <a:lnTo>
                    <a:pt x="688" y="207"/>
                  </a:lnTo>
                  <a:lnTo>
                    <a:pt x="678" y="214"/>
                  </a:lnTo>
                  <a:lnTo>
                    <a:pt x="671" y="225"/>
                  </a:lnTo>
                  <a:lnTo>
                    <a:pt x="668" y="238"/>
                  </a:lnTo>
                  <a:lnTo>
                    <a:pt x="668" y="523"/>
                  </a:lnTo>
                  <a:lnTo>
                    <a:pt x="2040" y="523"/>
                  </a:lnTo>
                  <a:lnTo>
                    <a:pt x="2078" y="526"/>
                  </a:lnTo>
                  <a:lnTo>
                    <a:pt x="2116" y="535"/>
                  </a:lnTo>
                  <a:lnTo>
                    <a:pt x="2150" y="549"/>
                  </a:lnTo>
                  <a:lnTo>
                    <a:pt x="2181" y="568"/>
                  </a:lnTo>
                  <a:lnTo>
                    <a:pt x="2209" y="592"/>
                  </a:lnTo>
                  <a:lnTo>
                    <a:pt x="2232" y="620"/>
                  </a:lnTo>
                  <a:lnTo>
                    <a:pt x="2252" y="651"/>
                  </a:lnTo>
                  <a:lnTo>
                    <a:pt x="2266" y="686"/>
                  </a:lnTo>
                  <a:lnTo>
                    <a:pt x="2276" y="722"/>
                  </a:lnTo>
                  <a:lnTo>
                    <a:pt x="2279" y="761"/>
                  </a:lnTo>
                  <a:lnTo>
                    <a:pt x="2279" y="2634"/>
                  </a:lnTo>
                  <a:lnTo>
                    <a:pt x="2503" y="2634"/>
                  </a:lnTo>
                  <a:lnTo>
                    <a:pt x="2517" y="2632"/>
                  </a:lnTo>
                  <a:lnTo>
                    <a:pt x="2528" y="2624"/>
                  </a:lnTo>
                  <a:lnTo>
                    <a:pt x="2535" y="2614"/>
                  </a:lnTo>
                  <a:lnTo>
                    <a:pt x="2537" y="2600"/>
                  </a:lnTo>
                  <a:lnTo>
                    <a:pt x="2537" y="238"/>
                  </a:lnTo>
                  <a:lnTo>
                    <a:pt x="2535" y="225"/>
                  </a:lnTo>
                  <a:lnTo>
                    <a:pt x="2528" y="214"/>
                  </a:lnTo>
                  <a:lnTo>
                    <a:pt x="2517" y="207"/>
                  </a:lnTo>
                  <a:lnTo>
                    <a:pt x="2503" y="204"/>
                  </a:lnTo>
                  <a:lnTo>
                    <a:pt x="702" y="204"/>
                  </a:lnTo>
                  <a:close/>
                  <a:moveTo>
                    <a:pt x="702" y="0"/>
                  </a:moveTo>
                  <a:lnTo>
                    <a:pt x="2503" y="0"/>
                  </a:lnTo>
                  <a:lnTo>
                    <a:pt x="2542" y="3"/>
                  </a:lnTo>
                  <a:lnTo>
                    <a:pt x="2579" y="13"/>
                  </a:lnTo>
                  <a:lnTo>
                    <a:pt x="2613" y="27"/>
                  </a:lnTo>
                  <a:lnTo>
                    <a:pt x="2645" y="47"/>
                  </a:lnTo>
                  <a:lnTo>
                    <a:pt x="2673" y="70"/>
                  </a:lnTo>
                  <a:lnTo>
                    <a:pt x="2696" y="98"/>
                  </a:lnTo>
                  <a:lnTo>
                    <a:pt x="2716" y="129"/>
                  </a:lnTo>
                  <a:lnTo>
                    <a:pt x="2731" y="163"/>
                  </a:lnTo>
                  <a:lnTo>
                    <a:pt x="2739" y="200"/>
                  </a:lnTo>
                  <a:lnTo>
                    <a:pt x="2742" y="238"/>
                  </a:lnTo>
                  <a:lnTo>
                    <a:pt x="2742" y="2600"/>
                  </a:lnTo>
                  <a:lnTo>
                    <a:pt x="2739" y="2639"/>
                  </a:lnTo>
                  <a:lnTo>
                    <a:pt x="2731" y="2675"/>
                  </a:lnTo>
                  <a:lnTo>
                    <a:pt x="2716" y="2709"/>
                  </a:lnTo>
                  <a:lnTo>
                    <a:pt x="2696" y="2741"/>
                  </a:lnTo>
                  <a:lnTo>
                    <a:pt x="2673" y="2768"/>
                  </a:lnTo>
                  <a:lnTo>
                    <a:pt x="2645" y="2792"/>
                  </a:lnTo>
                  <a:lnTo>
                    <a:pt x="2613" y="2811"/>
                  </a:lnTo>
                  <a:lnTo>
                    <a:pt x="2579" y="2825"/>
                  </a:lnTo>
                  <a:lnTo>
                    <a:pt x="2542" y="2835"/>
                  </a:lnTo>
                  <a:lnTo>
                    <a:pt x="2503" y="2838"/>
                  </a:lnTo>
                  <a:lnTo>
                    <a:pt x="2279" y="2838"/>
                  </a:lnTo>
                  <a:lnTo>
                    <a:pt x="2279" y="3123"/>
                  </a:lnTo>
                  <a:lnTo>
                    <a:pt x="2276" y="3161"/>
                  </a:lnTo>
                  <a:lnTo>
                    <a:pt x="2266" y="3197"/>
                  </a:lnTo>
                  <a:lnTo>
                    <a:pt x="2252" y="3232"/>
                  </a:lnTo>
                  <a:lnTo>
                    <a:pt x="2232" y="3263"/>
                  </a:lnTo>
                  <a:lnTo>
                    <a:pt x="2209" y="3291"/>
                  </a:lnTo>
                  <a:lnTo>
                    <a:pt x="2181" y="3314"/>
                  </a:lnTo>
                  <a:lnTo>
                    <a:pt x="2150" y="3334"/>
                  </a:lnTo>
                  <a:lnTo>
                    <a:pt x="2116" y="3348"/>
                  </a:lnTo>
                  <a:lnTo>
                    <a:pt x="2078" y="3356"/>
                  </a:lnTo>
                  <a:lnTo>
                    <a:pt x="2040" y="3361"/>
                  </a:lnTo>
                  <a:lnTo>
                    <a:pt x="239" y="3361"/>
                  </a:lnTo>
                  <a:lnTo>
                    <a:pt x="199" y="3356"/>
                  </a:lnTo>
                  <a:lnTo>
                    <a:pt x="163" y="3348"/>
                  </a:lnTo>
                  <a:lnTo>
                    <a:pt x="129" y="3334"/>
                  </a:lnTo>
                  <a:lnTo>
                    <a:pt x="97" y="3314"/>
                  </a:lnTo>
                  <a:lnTo>
                    <a:pt x="69" y="3291"/>
                  </a:lnTo>
                  <a:lnTo>
                    <a:pt x="45" y="3263"/>
                  </a:lnTo>
                  <a:lnTo>
                    <a:pt x="27" y="3232"/>
                  </a:lnTo>
                  <a:lnTo>
                    <a:pt x="12" y="3197"/>
                  </a:lnTo>
                  <a:lnTo>
                    <a:pt x="3" y="3161"/>
                  </a:lnTo>
                  <a:lnTo>
                    <a:pt x="0" y="3123"/>
                  </a:lnTo>
                  <a:lnTo>
                    <a:pt x="0" y="761"/>
                  </a:lnTo>
                  <a:lnTo>
                    <a:pt x="3" y="722"/>
                  </a:lnTo>
                  <a:lnTo>
                    <a:pt x="12" y="686"/>
                  </a:lnTo>
                  <a:lnTo>
                    <a:pt x="27" y="651"/>
                  </a:lnTo>
                  <a:lnTo>
                    <a:pt x="45" y="620"/>
                  </a:lnTo>
                  <a:lnTo>
                    <a:pt x="69" y="592"/>
                  </a:lnTo>
                  <a:lnTo>
                    <a:pt x="97" y="568"/>
                  </a:lnTo>
                  <a:lnTo>
                    <a:pt x="129" y="549"/>
                  </a:lnTo>
                  <a:lnTo>
                    <a:pt x="163" y="535"/>
                  </a:lnTo>
                  <a:lnTo>
                    <a:pt x="199" y="526"/>
                  </a:lnTo>
                  <a:lnTo>
                    <a:pt x="239" y="523"/>
                  </a:lnTo>
                  <a:lnTo>
                    <a:pt x="463" y="523"/>
                  </a:lnTo>
                  <a:lnTo>
                    <a:pt x="463" y="238"/>
                  </a:lnTo>
                  <a:lnTo>
                    <a:pt x="466" y="200"/>
                  </a:lnTo>
                  <a:lnTo>
                    <a:pt x="475" y="163"/>
                  </a:lnTo>
                  <a:lnTo>
                    <a:pt x="490" y="129"/>
                  </a:lnTo>
                  <a:lnTo>
                    <a:pt x="510" y="98"/>
                  </a:lnTo>
                  <a:lnTo>
                    <a:pt x="533" y="70"/>
                  </a:lnTo>
                  <a:lnTo>
                    <a:pt x="561" y="47"/>
                  </a:lnTo>
                  <a:lnTo>
                    <a:pt x="592" y="27"/>
                  </a:lnTo>
                  <a:lnTo>
                    <a:pt x="626" y="13"/>
                  </a:lnTo>
                  <a:lnTo>
                    <a:pt x="664" y="3"/>
                  </a:lnTo>
                  <a:lnTo>
                    <a:pt x="7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1" name="Freeform 151"/>
            <p:cNvSpPr>
              <a:spLocks/>
            </p:cNvSpPr>
            <p:nvPr/>
          </p:nvSpPr>
          <p:spPr bwMode="auto">
            <a:xfrm>
              <a:off x="5778" y="2856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0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5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2"/>
                  </a:lnTo>
                  <a:lnTo>
                    <a:pt x="1311" y="193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3"/>
                  </a:lnTo>
                  <a:lnTo>
                    <a:pt x="38" y="182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5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0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2" name="Freeform 152"/>
            <p:cNvSpPr>
              <a:spLocks/>
            </p:cNvSpPr>
            <p:nvPr/>
          </p:nvSpPr>
          <p:spPr bwMode="auto">
            <a:xfrm>
              <a:off x="5778" y="2886"/>
              <a:ext cx="92" cy="14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8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3"/>
                  </a:lnTo>
                  <a:lnTo>
                    <a:pt x="1290" y="202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2"/>
                  </a:lnTo>
                  <a:lnTo>
                    <a:pt x="58" y="193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8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3" name="Freeform 153"/>
            <p:cNvSpPr>
              <a:spLocks/>
            </p:cNvSpPr>
            <p:nvPr/>
          </p:nvSpPr>
          <p:spPr bwMode="auto">
            <a:xfrm>
              <a:off x="5778" y="2917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4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7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4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4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7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4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4" name="Freeform 154"/>
            <p:cNvSpPr>
              <a:spLocks/>
            </p:cNvSpPr>
            <p:nvPr/>
          </p:nvSpPr>
          <p:spPr bwMode="auto">
            <a:xfrm>
              <a:off x="5778" y="2947"/>
              <a:ext cx="92" cy="14"/>
            </a:xfrm>
            <a:custGeom>
              <a:avLst/>
              <a:gdLst>
                <a:gd name="T0" fmla="*/ 0 w 1369"/>
                <a:gd name="T1" fmla="*/ 0 h 203"/>
                <a:gd name="T2" fmla="*/ 0 w 1369"/>
                <a:gd name="T3" fmla="*/ 0 h 203"/>
                <a:gd name="T4" fmla="*/ 0 w 1369"/>
                <a:gd name="T5" fmla="*/ 0 h 203"/>
                <a:gd name="T6" fmla="*/ 0 w 1369"/>
                <a:gd name="T7" fmla="*/ 0 h 203"/>
                <a:gd name="T8" fmla="*/ 0 w 1369"/>
                <a:gd name="T9" fmla="*/ 0 h 203"/>
                <a:gd name="T10" fmla="*/ 0 w 1369"/>
                <a:gd name="T11" fmla="*/ 0 h 203"/>
                <a:gd name="T12" fmla="*/ 0 w 1369"/>
                <a:gd name="T13" fmla="*/ 0 h 203"/>
                <a:gd name="T14" fmla="*/ 0 w 1369"/>
                <a:gd name="T15" fmla="*/ 0 h 203"/>
                <a:gd name="T16" fmla="*/ 0 w 1369"/>
                <a:gd name="T17" fmla="*/ 0 h 203"/>
                <a:gd name="T18" fmla="*/ 0 w 1369"/>
                <a:gd name="T19" fmla="*/ 0 h 203"/>
                <a:gd name="T20" fmla="*/ 0 w 1369"/>
                <a:gd name="T21" fmla="*/ 0 h 203"/>
                <a:gd name="T22" fmla="*/ 0 w 1369"/>
                <a:gd name="T23" fmla="*/ 0 h 203"/>
                <a:gd name="T24" fmla="*/ 0 w 1369"/>
                <a:gd name="T25" fmla="*/ 0 h 203"/>
                <a:gd name="T26" fmla="*/ 0 w 1369"/>
                <a:gd name="T27" fmla="*/ 0 h 203"/>
                <a:gd name="T28" fmla="*/ 0 w 1369"/>
                <a:gd name="T29" fmla="*/ 0 h 203"/>
                <a:gd name="T30" fmla="*/ 0 w 1369"/>
                <a:gd name="T31" fmla="*/ 0 h 203"/>
                <a:gd name="T32" fmla="*/ 0 w 1369"/>
                <a:gd name="T33" fmla="*/ 0 h 203"/>
                <a:gd name="T34" fmla="*/ 0 w 1369"/>
                <a:gd name="T35" fmla="*/ 0 h 203"/>
                <a:gd name="T36" fmla="*/ 0 w 1369"/>
                <a:gd name="T37" fmla="*/ 0 h 203"/>
                <a:gd name="T38" fmla="*/ 0 w 1369"/>
                <a:gd name="T39" fmla="*/ 0 h 203"/>
                <a:gd name="T40" fmla="*/ 0 w 1369"/>
                <a:gd name="T41" fmla="*/ 0 h 203"/>
                <a:gd name="T42" fmla="*/ 0 w 1369"/>
                <a:gd name="T43" fmla="*/ 0 h 203"/>
                <a:gd name="T44" fmla="*/ 0 w 1369"/>
                <a:gd name="T45" fmla="*/ 0 h 203"/>
                <a:gd name="T46" fmla="*/ 0 w 1369"/>
                <a:gd name="T47" fmla="*/ 0 h 203"/>
                <a:gd name="T48" fmla="*/ 0 w 1369"/>
                <a:gd name="T49" fmla="*/ 0 h 203"/>
                <a:gd name="T50" fmla="*/ 0 w 1369"/>
                <a:gd name="T51" fmla="*/ 0 h 203"/>
                <a:gd name="T52" fmla="*/ 0 w 1369"/>
                <a:gd name="T53" fmla="*/ 0 h 203"/>
                <a:gd name="T54" fmla="*/ 0 w 1369"/>
                <a:gd name="T55" fmla="*/ 0 h 203"/>
                <a:gd name="T56" fmla="*/ 0 w 1369"/>
                <a:gd name="T57" fmla="*/ 0 h 203"/>
                <a:gd name="T58" fmla="*/ 0 w 1369"/>
                <a:gd name="T59" fmla="*/ 0 h 203"/>
                <a:gd name="T60" fmla="*/ 0 w 1369"/>
                <a:gd name="T61" fmla="*/ 0 h 20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3"/>
                <a:gd name="T95" fmla="*/ 1369 w 1369"/>
                <a:gd name="T96" fmla="*/ 203 h 20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3">
                  <a:moveTo>
                    <a:pt x="102" y="0"/>
                  </a:moveTo>
                  <a:lnTo>
                    <a:pt x="1267" y="0"/>
                  </a:lnTo>
                  <a:lnTo>
                    <a:pt x="1290" y="2"/>
                  </a:lnTo>
                  <a:lnTo>
                    <a:pt x="1311" y="10"/>
                  </a:lnTo>
                  <a:lnTo>
                    <a:pt x="1331" y="22"/>
                  </a:lnTo>
                  <a:lnTo>
                    <a:pt x="1346" y="38"/>
                  </a:lnTo>
                  <a:lnTo>
                    <a:pt x="1359" y="56"/>
                  </a:lnTo>
                  <a:lnTo>
                    <a:pt x="1366" y="78"/>
                  </a:lnTo>
                  <a:lnTo>
                    <a:pt x="1369" y="101"/>
                  </a:lnTo>
                  <a:lnTo>
                    <a:pt x="1366" y="125"/>
                  </a:lnTo>
                  <a:lnTo>
                    <a:pt x="1359" y="145"/>
                  </a:lnTo>
                  <a:lnTo>
                    <a:pt x="1346" y="165"/>
                  </a:lnTo>
                  <a:lnTo>
                    <a:pt x="1331" y="180"/>
                  </a:lnTo>
                  <a:lnTo>
                    <a:pt x="1311" y="193"/>
                  </a:lnTo>
                  <a:lnTo>
                    <a:pt x="1290" y="200"/>
                  </a:lnTo>
                  <a:lnTo>
                    <a:pt x="1267" y="203"/>
                  </a:lnTo>
                  <a:lnTo>
                    <a:pt x="102" y="203"/>
                  </a:lnTo>
                  <a:lnTo>
                    <a:pt x="78" y="200"/>
                  </a:lnTo>
                  <a:lnTo>
                    <a:pt x="58" y="193"/>
                  </a:lnTo>
                  <a:lnTo>
                    <a:pt x="38" y="180"/>
                  </a:lnTo>
                  <a:lnTo>
                    <a:pt x="22" y="165"/>
                  </a:lnTo>
                  <a:lnTo>
                    <a:pt x="10" y="145"/>
                  </a:lnTo>
                  <a:lnTo>
                    <a:pt x="3" y="125"/>
                  </a:lnTo>
                  <a:lnTo>
                    <a:pt x="0" y="101"/>
                  </a:lnTo>
                  <a:lnTo>
                    <a:pt x="3" y="78"/>
                  </a:lnTo>
                  <a:lnTo>
                    <a:pt x="10" y="56"/>
                  </a:lnTo>
                  <a:lnTo>
                    <a:pt x="22" y="38"/>
                  </a:lnTo>
                  <a:lnTo>
                    <a:pt x="38" y="22"/>
                  </a:lnTo>
                  <a:lnTo>
                    <a:pt x="58" y="10"/>
                  </a:lnTo>
                  <a:lnTo>
                    <a:pt x="78" y="2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sp>
        <p:nvSpPr>
          <p:cNvPr id="30" name="Rectangle 29"/>
          <p:cNvSpPr/>
          <p:nvPr/>
        </p:nvSpPr>
        <p:spPr>
          <a:xfrm rot="914558">
            <a:off x="5505172" y="4074436"/>
            <a:ext cx="3744416" cy="504056"/>
          </a:xfrm>
          <a:prstGeom prst="rect">
            <a:avLst/>
          </a:prstGeom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rumień rozpoczął prace </a:t>
            </a:r>
            <a:endParaRPr lang="en-US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6020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4307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5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3903766"/>
              </p:ext>
            </p:extLst>
          </p:nvPr>
        </p:nvGraphicFramePr>
        <p:xfrm>
          <a:off x="344489" y="1105567"/>
          <a:ext cx="9288462" cy="25961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581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9728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7466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2496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638118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200" b="1" dirty="0" smtClean="0">
                          <a:solidFill>
                            <a:srgbClr val="177B57"/>
                          </a:solidFill>
                          <a:latin typeface="Calibri" panose="020F0502020204030204" pitchFamily="34" charset="0"/>
                        </a:rPr>
                        <a:t>Projekt/Inicjatywa</a:t>
                      </a:r>
                      <a:endParaRPr lang="pl-PL" sz="1200" b="1" i="0" u="none" strike="noStrike" dirty="0" smtClean="0">
                        <a:solidFill>
                          <a:srgbClr val="177B5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 smtClean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200" b="1" u="none" strike="noStrike" dirty="0" smtClean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1" fontAlgn="base">
                        <a:buClr>
                          <a:srgbClr val="808080"/>
                        </a:buClr>
                        <a:buSzPct val="100000"/>
                      </a:pPr>
                      <a:r>
                        <a:rPr lang="pl-PL" sz="12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Stworzenie </a:t>
                      </a:r>
                      <a:r>
                        <a:rPr lang="pl-PL" sz="12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roboczej platformy dla poszukiwania synergii międzysektorowych </a:t>
                      </a:r>
                      <a:endParaRPr lang="pl-PL" sz="1200" b="0" dirty="0">
                        <a:solidFill>
                          <a:schemeClr val="tx1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l-PL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.2018</a:t>
                      </a:r>
                      <a:endParaRPr lang="pl-PL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12710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1" fontAlgn="base">
                        <a:buClr>
                          <a:srgbClr val="808080"/>
                        </a:buClr>
                        <a:buSzPct val="100000"/>
                      </a:pPr>
                      <a:r>
                        <a:rPr lang="pl-PL" sz="12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Wskazanie ew. nisz polskiej gospodarki pod kątem potencjału SI</a:t>
                      </a: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2.2019</a:t>
                      </a:r>
                      <a:endParaRPr lang="pl-PL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1" fontAlgn="base">
                        <a:buClr>
                          <a:srgbClr val="808080"/>
                        </a:buClr>
                        <a:buSzPct val="100000"/>
                      </a:pPr>
                      <a:r>
                        <a:rPr lang="pl-PL" sz="12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Konkretne propozycje wz. budowania przewag konkurencyjnych, interwencji państwa, propozycji działań, finansowania, regulacji, projektów na styku administracji, biznesu, nauki i NGO</a:t>
                      </a:r>
                      <a:endParaRPr lang="pl-PL" sz="1200" b="0" dirty="0">
                        <a:solidFill>
                          <a:schemeClr val="tx1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2.2019</a:t>
                      </a:r>
                      <a:endParaRPr lang="pl-PL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1" fontAlgn="base">
                        <a:buClr>
                          <a:srgbClr val="808080"/>
                        </a:buClr>
                        <a:buSzPct val="100000"/>
                      </a:pPr>
                      <a:r>
                        <a:rPr lang="pl-PL" sz="12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Wskazanie </a:t>
                      </a:r>
                      <a:r>
                        <a:rPr lang="pl-PL" sz="12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optymalnego sposobu administrowania procesem SI (np. instytut SI)</a:t>
                      </a:r>
                      <a:endParaRPr lang="pl-PL" sz="1200" b="0" dirty="0">
                        <a:solidFill>
                          <a:schemeClr val="tx1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2.2019</a:t>
                      </a:r>
                      <a:endParaRPr lang="pl-PL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1" fontAlgn="base">
                        <a:buClr>
                          <a:srgbClr val="808080"/>
                        </a:buClr>
                        <a:buSzPct val="100000"/>
                      </a:pPr>
                      <a:r>
                        <a:rPr lang="pl-PL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Konferencja AI</a:t>
                      </a:r>
                      <a:endParaRPr lang="pl-PL" sz="1200" b="0" dirty="0">
                        <a:solidFill>
                          <a:schemeClr val="tx1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8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2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Stworzenie strategii/planu działań/białej księgi na rzecz SI</a:t>
                      </a: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1.2019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5366" name="Title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675439" cy="831850"/>
          </a:xfrm>
        </p:spPr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Cele strumienia </a:t>
            </a:r>
            <a:r>
              <a:rPr lang="pl-PL" kern="2400" dirty="0">
                <a:solidFill>
                  <a:srgbClr val="DC6E00"/>
                </a:solidFill>
              </a:rPr>
              <a:t>Sztuczna Inteligencja</a:t>
            </a:r>
            <a:r>
              <a:rPr lang="pl-PL" dirty="0">
                <a:solidFill>
                  <a:srgbClr val="C00000"/>
                </a:solidFill>
              </a:rPr>
              <a:t> </a:t>
            </a:r>
            <a:r>
              <a:rPr lang="pl-PL" altLang="pl-PL" dirty="0" smtClean="0">
                <a:solidFill>
                  <a:srgbClr val="0166B6"/>
                </a:solidFill>
              </a:rPr>
              <a:t>są aktualnie realizowane </a:t>
            </a:r>
            <a:r>
              <a:rPr lang="pl-PL" altLang="pl-PL" dirty="0">
                <a:solidFill>
                  <a:srgbClr val="0166B6"/>
                </a:solidFill>
              </a:rPr>
              <a:t>w ramach </a:t>
            </a:r>
            <a:r>
              <a:rPr lang="pl-PL" altLang="pl-PL" dirty="0" smtClean="0">
                <a:solidFill>
                  <a:srgbClr val="0166B6"/>
                </a:solidFill>
              </a:rPr>
              <a:t>prac nad raportami GR mającymi być podstawą strategii SI</a:t>
            </a:r>
            <a:endParaRPr lang="pl-PL" altLang="pl-PL" dirty="0">
              <a:solidFill>
                <a:srgbClr val="0166B6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677988" y="6496294"/>
            <a:ext cx="17956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Wczesne prace koncepcyjne</a:t>
            </a:r>
          </a:p>
        </p:txBody>
      </p:sp>
      <p:sp>
        <p:nvSpPr>
          <p:cNvPr id="93" name="Rectangle 92"/>
          <p:cNvSpPr/>
          <p:nvPr/>
        </p:nvSpPr>
        <p:spPr>
          <a:xfrm>
            <a:off x="641350" y="6489944"/>
            <a:ext cx="816249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94" name="Oval 93"/>
          <p:cNvSpPr/>
          <p:nvPr/>
        </p:nvSpPr>
        <p:spPr bwMode="gray">
          <a:xfrm>
            <a:off x="3516313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5" name="Arc 94"/>
          <p:cNvSpPr/>
          <p:nvPr/>
        </p:nvSpPr>
        <p:spPr bwMode="gray">
          <a:xfrm>
            <a:off x="3531556" y="6518275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3724275" y="6485547"/>
            <a:ext cx="21691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awansowane prace koncepcyjne</a:t>
            </a:r>
          </a:p>
        </p:txBody>
      </p:sp>
      <p:sp>
        <p:nvSpPr>
          <p:cNvPr id="98" name="Oval 97"/>
          <p:cNvSpPr/>
          <p:nvPr/>
        </p:nvSpPr>
        <p:spPr bwMode="gray">
          <a:xfrm>
            <a:off x="5904097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1" name="Arc 110"/>
          <p:cNvSpPr/>
          <p:nvPr/>
        </p:nvSpPr>
        <p:spPr bwMode="gray">
          <a:xfrm>
            <a:off x="5904097" y="6513158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6112059" y="6485547"/>
            <a:ext cx="181171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116" name="Oval 115"/>
          <p:cNvSpPr/>
          <p:nvPr/>
        </p:nvSpPr>
        <p:spPr bwMode="gray">
          <a:xfrm>
            <a:off x="7889193" y="6513158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8106681" y="6485547"/>
            <a:ext cx="862737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129" name="Oval 128"/>
          <p:cNvSpPr/>
          <p:nvPr>
            <p:custDataLst>
              <p:tags r:id="rId3"/>
            </p:custDataLst>
          </p:nvPr>
        </p:nvSpPr>
        <p:spPr bwMode="gray">
          <a:xfrm>
            <a:off x="433388" y="65182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5" name="Oval 134"/>
          <p:cNvSpPr/>
          <p:nvPr/>
        </p:nvSpPr>
        <p:spPr bwMode="gray">
          <a:xfrm>
            <a:off x="7270080" y="2539229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7" name="Arc 136"/>
          <p:cNvSpPr/>
          <p:nvPr/>
        </p:nvSpPr>
        <p:spPr bwMode="gray">
          <a:xfrm>
            <a:off x="7270080" y="2549620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40" name="clipart_tick"/>
          <p:cNvSpPr>
            <a:spLocks noChangeAspect="1"/>
          </p:cNvSpPr>
          <p:nvPr/>
        </p:nvSpPr>
        <p:spPr bwMode="gray">
          <a:xfrm>
            <a:off x="8118074" y="1792381"/>
            <a:ext cx="182272" cy="196459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1" name="Oval 140"/>
          <p:cNvSpPr/>
          <p:nvPr/>
        </p:nvSpPr>
        <p:spPr bwMode="auto">
          <a:xfrm>
            <a:off x="8118074" y="2931114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42" name="Oval 141"/>
          <p:cNvSpPr/>
          <p:nvPr>
            <p:custDataLst>
              <p:tags r:id="rId4"/>
            </p:custDataLst>
          </p:nvPr>
        </p:nvSpPr>
        <p:spPr bwMode="gray">
          <a:xfrm>
            <a:off x="7256667" y="1785640"/>
            <a:ext cx="203200" cy="203200"/>
          </a:xfrm>
          <a:prstGeom prst="ellipse">
            <a:avLst/>
          </a:prstGeom>
          <a:solidFill>
            <a:srgbClr val="B2B2B2"/>
          </a:solidFill>
          <a:ln w="9525">
            <a:solidFill>
              <a:srgbClr val="B2B2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9" name="Oval 140"/>
          <p:cNvSpPr/>
          <p:nvPr/>
        </p:nvSpPr>
        <p:spPr bwMode="auto">
          <a:xfrm>
            <a:off x="8106658" y="2068119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Oval 140"/>
          <p:cNvSpPr/>
          <p:nvPr/>
        </p:nvSpPr>
        <p:spPr bwMode="auto">
          <a:xfrm>
            <a:off x="8106681" y="2534570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2" name="Oval 134"/>
          <p:cNvSpPr/>
          <p:nvPr/>
        </p:nvSpPr>
        <p:spPr bwMode="gray">
          <a:xfrm>
            <a:off x="7256667" y="2075011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3" name="Arc 136"/>
          <p:cNvSpPr/>
          <p:nvPr/>
        </p:nvSpPr>
        <p:spPr bwMode="gray">
          <a:xfrm>
            <a:off x="7256667" y="2078144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54" name="Oval 128"/>
          <p:cNvSpPr/>
          <p:nvPr/>
        </p:nvSpPr>
        <p:spPr bwMode="gray">
          <a:xfrm>
            <a:off x="7275772" y="2930126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1" name="Oval 49"/>
          <p:cNvSpPr/>
          <p:nvPr/>
        </p:nvSpPr>
        <p:spPr bwMode="auto">
          <a:xfrm>
            <a:off x="8128465" y="3469835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35" name="Oval 134"/>
          <p:cNvSpPr/>
          <p:nvPr>
            <p:custDataLst>
              <p:tags r:id="rId5"/>
            </p:custDataLst>
          </p:nvPr>
        </p:nvSpPr>
        <p:spPr bwMode="gray">
          <a:xfrm>
            <a:off x="1476349" y="6528834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6" name="Arc 136"/>
          <p:cNvSpPr/>
          <p:nvPr>
            <p:custDataLst>
              <p:tags r:id="rId6"/>
            </p:custDataLst>
          </p:nvPr>
        </p:nvSpPr>
        <p:spPr bwMode="gray">
          <a:xfrm>
            <a:off x="1466515" y="6543957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37" name="clipart_tick"/>
          <p:cNvSpPr>
            <a:spLocks noChangeAspect="1"/>
          </p:cNvSpPr>
          <p:nvPr/>
        </p:nvSpPr>
        <p:spPr bwMode="gray">
          <a:xfrm>
            <a:off x="8155104" y="3212976"/>
            <a:ext cx="182272" cy="196459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8" name="Oval 155"/>
          <p:cNvSpPr/>
          <p:nvPr>
            <p:custDataLst>
              <p:tags r:id="rId7"/>
            </p:custDataLst>
          </p:nvPr>
        </p:nvSpPr>
        <p:spPr bwMode="gray">
          <a:xfrm>
            <a:off x="7298091" y="3202585"/>
            <a:ext cx="203200" cy="2032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0" name="Oval 128"/>
          <p:cNvSpPr/>
          <p:nvPr/>
        </p:nvSpPr>
        <p:spPr bwMode="gray">
          <a:xfrm>
            <a:off x="7288429" y="3461877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1" name="Arc 136"/>
          <p:cNvSpPr/>
          <p:nvPr/>
        </p:nvSpPr>
        <p:spPr bwMode="gray">
          <a:xfrm>
            <a:off x="7278038" y="3460173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2864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8522761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533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zy biznesowi: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IIT Borys Stokalski</a:t>
            </a:r>
            <a:endParaRPr lang="pl-PL" sz="1517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y: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in. </a:t>
            </a: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ciepa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PiT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, </a:t>
            </a: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. Kawecki, L. </a:t>
            </a:r>
            <a:r>
              <a:rPr lang="pl-PL" sz="1517" b="1" dirty="0" err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aśniak</a:t>
            </a: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MC)</a:t>
            </a:r>
            <a:endParaRPr lang="pl-PL" sz="1517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 smtClean="0">
                <a:solidFill>
                  <a:srgbClr val="0166B6"/>
                </a:solidFill>
              </a:rPr>
              <a:t>Strumień</a:t>
            </a:r>
            <a:r>
              <a:rPr lang="pl-PL" altLang="pl-PL" dirty="0" smtClean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Internet Rzeczy </a:t>
            </a:r>
            <a:r>
              <a:rPr lang="pl-PL" altLang="pl-PL" dirty="0" smtClean="0">
                <a:solidFill>
                  <a:srgbClr val="0166B6"/>
                </a:solidFill>
              </a:rPr>
              <a:t>realizuje inicjatywy z </a:t>
            </a:r>
            <a:r>
              <a:rPr lang="pl-PL" altLang="pl-PL" dirty="0">
                <a:solidFill>
                  <a:srgbClr val="0166B6"/>
                </a:solidFill>
              </a:rPr>
              <a:t>zakresu </a:t>
            </a:r>
            <a:r>
              <a:rPr lang="pl-PL" altLang="pl-PL" dirty="0" smtClean="0">
                <a:solidFill>
                  <a:srgbClr val="0166B6"/>
                </a:solidFill>
              </a:rPr>
              <a:t>zniesienia </a:t>
            </a:r>
            <a:r>
              <a:rPr lang="pl-PL" altLang="pl-PL" dirty="0">
                <a:solidFill>
                  <a:srgbClr val="0166B6"/>
                </a:solidFill>
              </a:rPr>
              <a:t>barier prawny oraz </a:t>
            </a:r>
            <a:r>
              <a:rPr lang="pl-PL" altLang="pl-PL" dirty="0" smtClean="0">
                <a:solidFill>
                  <a:srgbClr val="0166B6"/>
                </a:solidFill>
              </a:rPr>
              <a:t>wprowadzenia </a:t>
            </a:r>
            <a:r>
              <a:rPr lang="pl-PL" altLang="pl-PL" dirty="0">
                <a:solidFill>
                  <a:srgbClr val="0166B6"/>
                </a:solidFill>
              </a:rPr>
              <a:t>regulacji stymulujących rynek w zakresie </a:t>
            </a:r>
            <a:r>
              <a:rPr lang="pl-PL" altLang="pl-PL" dirty="0" err="1" smtClean="0">
                <a:solidFill>
                  <a:srgbClr val="0166B6"/>
                </a:solidFill>
              </a:rPr>
              <a:t>IoT</a:t>
            </a:r>
            <a:endParaRPr lang="pl-PL" altLang="pl-PL" dirty="0">
              <a:solidFill>
                <a:srgbClr val="0166B6"/>
              </a:solidFill>
            </a:endParaRPr>
          </a:p>
        </p:txBody>
      </p:sp>
      <p:sp>
        <p:nvSpPr>
          <p:cNvPr id="52" name="FlowTriangle"/>
          <p:cNvSpPr>
            <a:spLocks noChangeArrowheads="1"/>
          </p:cNvSpPr>
          <p:nvPr/>
        </p:nvSpPr>
        <p:spPr bwMode="gray">
          <a:xfrm rot="5400000">
            <a:off x="4122663" y="4273847"/>
            <a:ext cx="1738709" cy="234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84419" tIns="42210" rIns="84419" bIns="42210" anchor="ctr"/>
          <a:lstStyle/>
          <a:p>
            <a:pPr algn="ctr">
              <a:defRPr/>
            </a:pPr>
            <a:endParaRPr lang="pl-PL" sz="13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112416" y="2868931"/>
            <a:ext cx="2702708" cy="54910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Cele/ korzyści planowane do osiągnięcia</a:t>
            </a: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6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2424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Smart City - </a:t>
            </a:r>
            <a:r>
              <a:rPr lang="pl-PL" sz="1300" dirty="0">
                <a:solidFill>
                  <a:srgbClr val="000000"/>
                </a:solidFill>
                <a:latin typeface="Calibri" pitchFamily="34" charset="0"/>
              </a:rPr>
              <a:t>Inteligentne Miasta i Budynki; 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Energetyka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, opomiarowanie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err="1" smtClean="0">
                <a:solidFill>
                  <a:srgbClr val="000000"/>
                </a:solidFill>
                <a:latin typeface="Calibri" pitchFamily="34" charset="0"/>
              </a:rPr>
              <a:t>Drony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, zagadnienia prywatności w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monitoringu;</a:t>
            </a: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sz="1300" dirty="0" smtClean="0">
                <a:solidFill>
                  <a:srgbClr val="000000"/>
                </a:solidFill>
                <a:latin typeface="Calibri" pitchFamily="34" charset="0"/>
              </a:rPr>
              <a:t>Bezpieczeństwo </a:t>
            </a:r>
            <a:r>
              <a:rPr lang="pl-PL" sz="1300" dirty="0">
                <a:solidFill>
                  <a:srgbClr val="000000"/>
                </a:solidFill>
                <a:latin typeface="Calibri" pitchFamily="34" charset="0"/>
              </a:rPr>
              <a:t>i Certyfikacje; </a:t>
            </a:r>
            <a:endParaRPr lang="pl-PL" sz="1300" dirty="0" smtClean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sz="1300" dirty="0" smtClean="0">
                <a:solidFill>
                  <a:srgbClr val="000000"/>
                </a:solidFill>
                <a:latin typeface="Calibri" pitchFamily="34" charset="0"/>
              </a:rPr>
              <a:t>Finanse </a:t>
            </a:r>
            <a:r>
              <a:rPr lang="pl-PL" sz="1300" dirty="0">
                <a:solidFill>
                  <a:srgbClr val="000000"/>
                </a:solidFill>
                <a:latin typeface="Calibri" pitchFamily="34" charset="0"/>
              </a:rPr>
              <a:t>i Ubezpieczenia; </a:t>
            </a:r>
            <a:endParaRPr lang="pl-PL" sz="1300" dirty="0" smtClean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sz="1300" dirty="0" smtClean="0">
                <a:solidFill>
                  <a:srgbClr val="000000"/>
                </a:solidFill>
                <a:latin typeface="Calibri" pitchFamily="34" charset="0"/>
              </a:rPr>
              <a:t>Ochrona </a:t>
            </a:r>
            <a:r>
              <a:rPr lang="pl-PL" sz="1300" dirty="0">
                <a:solidFill>
                  <a:srgbClr val="000000"/>
                </a:solidFill>
                <a:latin typeface="Calibri" pitchFamily="34" charset="0"/>
              </a:rPr>
              <a:t>Zdrowia; </a:t>
            </a:r>
            <a:endParaRPr lang="pl-PL" sz="1300" dirty="0" smtClean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sz="1300" dirty="0" smtClean="0">
                <a:solidFill>
                  <a:srgbClr val="000000"/>
                </a:solidFill>
                <a:latin typeface="Calibri" pitchFamily="34" charset="0"/>
              </a:rPr>
              <a:t>Transport</a:t>
            </a:r>
            <a:r>
              <a:rPr lang="pl-PL" sz="1300" dirty="0">
                <a:solidFill>
                  <a:srgbClr val="000000"/>
                </a:solidFill>
                <a:latin typeface="Calibri" pitchFamily="34" charset="0"/>
              </a:rPr>
              <a:t>, Logistyka i Pojazdy  Autonomiczne; </a:t>
            </a:r>
            <a:endParaRPr lang="pl-PL" sz="1300" dirty="0" smtClean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sz="1300" dirty="0" smtClean="0">
                <a:solidFill>
                  <a:srgbClr val="000000"/>
                </a:solidFill>
                <a:latin typeface="Calibri" pitchFamily="34" charset="0"/>
              </a:rPr>
              <a:t>Przemysł i o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twartość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danych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maszynowych;</a:t>
            </a: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sz="1300" dirty="0" smtClean="0">
                <a:solidFill>
                  <a:srgbClr val="000000"/>
                </a:solidFill>
                <a:latin typeface="Calibri" pitchFamily="34" charset="0"/>
              </a:rPr>
              <a:t>Rolnictwo </a:t>
            </a:r>
            <a:r>
              <a:rPr lang="pl-PL" sz="1300" dirty="0">
                <a:solidFill>
                  <a:srgbClr val="000000"/>
                </a:solidFill>
                <a:latin typeface="Calibri" pitchFamily="34" charset="0"/>
              </a:rPr>
              <a:t>i Ochrona Środowiska; </a:t>
            </a:r>
            <a:endParaRPr lang="pl-PL" sz="1300" dirty="0" smtClean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sz="1300" dirty="0" smtClean="0">
                <a:solidFill>
                  <a:srgbClr val="000000"/>
                </a:solidFill>
                <a:latin typeface="Calibri" pitchFamily="34" charset="0"/>
              </a:rPr>
              <a:t>Telekomunikacja</a:t>
            </a:r>
            <a:r>
              <a:rPr lang="pl-PL" sz="1300" dirty="0">
                <a:solidFill>
                  <a:srgbClr val="000000"/>
                </a:solidFill>
                <a:latin typeface="Calibri" pitchFamily="34" charset="0"/>
              </a:rPr>
              <a:t>,  </a:t>
            </a:r>
            <a:endParaRPr lang="pl-PL" sz="1300" dirty="0" smtClean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9" name="Group 148"/>
          <p:cNvGrpSpPr>
            <a:grpSpLocks noChangeAspect="1"/>
          </p:cNvGrpSpPr>
          <p:nvPr/>
        </p:nvGrpSpPr>
        <p:grpSpPr bwMode="auto">
          <a:xfrm>
            <a:off x="771586" y="1926929"/>
            <a:ext cx="584691" cy="703355"/>
            <a:chOff x="5748" y="2786"/>
            <a:chExt cx="202" cy="243"/>
          </a:xfrm>
        </p:grpSpPr>
        <p:sp>
          <p:nvSpPr>
            <p:cNvPr id="20" name="Freeform 150"/>
            <p:cNvSpPr>
              <a:spLocks noEditPoints="1"/>
            </p:cNvSpPr>
            <p:nvPr/>
          </p:nvSpPr>
          <p:spPr bwMode="auto">
            <a:xfrm>
              <a:off x="5748" y="2786"/>
              <a:ext cx="202" cy="243"/>
            </a:xfrm>
            <a:custGeom>
              <a:avLst/>
              <a:gdLst>
                <a:gd name="T0" fmla="*/ 0 w 2742"/>
                <a:gd name="T1" fmla="*/ 0 h 3361"/>
                <a:gd name="T2" fmla="*/ 0 w 2742"/>
                <a:gd name="T3" fmla="*/ 0 h 3361"/>
                <a:gd name="T4" fmla="*/ 0 w 2742"/>
                <a:gd name="T5" fmla="*/ 0 h 3361"/>
                <a:gd name="T6" fmla="*/ 0 w 2742"/>
                <a:gd name="T7" fmla="*/ 0 h 3361"/>
                <a:gd name="T8" fmla="*/ 0 w 2742"/>
                <a:gd name="T9" fmla="*/ 0 h 3361"/>
                <a:gd name="T10" fmla="*/ 0 w 2742"/>
                <a:gd name="T11" fmla="*/ 0 h 3361"/>
                <a:gd name="T12" fmla="*/ 0 w 2742"/>
                <a:gd name="T13" fmla="*/ 0 h 3361"/>
                <a:gd name="T14" fmla="*/ 0 w 2742"/>
                <a:gd name="T15" fmla="*/ 0 h 3361"/>
                <a:gd name="T16" fmla="*/ 0 w 2742"/>
                <a:gd name="T17" fmla="*/ 0 h 3361"/>
                <a:gd name="T18" fmla="*/ 0 w 2742"/>
                <a:gd name="T19" fmla="*/ 0 h 3361"/>
                <a:gd name="T20" fmla="*/ 0 w 2742"/>
                <a:gd name="T21" fmla="*/ 0 h 3361"/>
                <a:gd name="T22" fmla="*/ 0 w 2742"/>
                <a:gd name="T23" fmla="*/ 0 h 3361"/>
                <a:gd name="T24" fmla="*/ 0 w 2742"/>
                <a:gd name="T25" fmla="*/ 0 h 3361"/>
                <a:gd name="T26" fmla="*/ 0 w 2742"/>
                <a:gd name="T27" fmla="*/ 0 h 3361"/>
                <a:gd name="T28" fmla="*/ 0 w 2742"/>
                <a:gd name="T29" fmla="*/ 0 h 3361"/>
                <a:gd name="T30" fmla="*/ 0 w 2742"/>
                <a:gd name="T31" fmla="*/ 0 h 3361"/>
                <a:gd name="T32" fmla="*/ 0 w 2742"/>
                <a:gd name="T33" fmla="*/ 0 h 3361"/>
                <a:gd name="T34" fmla="*/ 0 w 2742"/>
                <a:gd name="T35" fmla="*/ 0 h 3361"/>
                <a:gd name="T36" fmla="*/ 0 w 2742"/>
                <a:gd name="T37" fmla="*/ 0 h 3361"/>
                <a:gd name="T38" fmla="*/ 0 w 2742"/>
                <a:gd name="T39" fmla="*/ 0 h 3361"/>
                <a:gd name="T40" fmla="*/ 0 w 2742"/>
                <a:gd name="T41" fmla="*/ 0 h 3361"/>
                <a:gd name="T42" fmla="*/ 0 w 2742"/>
                <a:gd name="T43" fmla="*/ 0 h 3361"/>
                <a:gd name="T44" fmla="*/ 0 w 2742"/>
                <a:gd name="T45" fmla="*/ 0 h 3361"/>
                <a:gd name="T46" fmla="*/ 0 w 2742"/>
                <a:gd name="T47" fmla="*/ 0 h 3361"/>
                <a:gd name="T48" fmla="*/ 0 w 2742"/>
                <a:gd name="T49" fmla="*/ 0 h 3361"/>
                <a:gd name="T50" fmla="*/ 0 w 2742"/>
                <a:gd name="T51" fmla="*/ 0 h 3361"/>
                <a:gd name="T52" fmla="*/ 0 w 2742"/>
                <a:gd name="T53" fmla="*/ 0 h 3361"/>
                <a:gd name="T54" fmla="*/ 0 w 2742"/>
                <a:gd name="T55" fmla="*/ 0 h 3361"/>
                <a:gd name="T56" fmla="*/ 0 w 2742"/>
                <a:gd name="T57" fmla="*/ 0 h 3361"/>
                <a:gd name="T58" fmla="*/ 0 w 2742"/>
                <a:gd name="T59" fmla="*/ 0 h 3361"/>
                <a:gd name="T60" fmla="*/ 0 w 2742"/>
                <a:gd name="T61" fmla="*/ 0 h 3361"/>
                <a:gd name="T62" fmla="*/ 0 w 2742"/>
                <a:gd name="T63" fmla="*/ 0 h 3361"/>
                <a:gd name="T64" fmla="*/ 0 w 2742"/>
                <a:gd name="T65" fmla="*/ 0 h 3361"/>
                <a:gd name="T66" fmla="*/ 0 w 2742"/>
                <a:gd name="T67" fmla="*/ 0 h 3361"/>
                <a:gd name="T68" fmla="*/ 0 w 2742"/>
                <a:gd name="T69" fmla="*/ 0 h 3361"/>
                <a:gd name="T70" fmla="*/ 0 w 2742"/>
                <a:gd name="T71" fmla="*/ 0 h 3361"/>
                <a:gd name="T72" fmla="*/ 0 w 2742"/>
                <a:gd name="T73" fmla="*/ 0 h 3361"/>
                <a:gd name="T74" fmla="*/ 0 w 2742"/>
                <a:gd name="T75" fmla="*/ 0 h 3361"/>
                <a:gd name="T76" fmla="*/ 0 w 2742"/>
                <a:gd name="T77" fmla="*/ 0 h 3361"/>
                <a:gd name="T78" fmla="*/ 0 w 2742"/>
                <a:gd name="T79" fmla="*/ 0 h 3361"/>
                <a:gd name="T80" fmla="*/ 0 w 2742"/>
                <a:gd name="T81" fmla="*/ 0 h 3361"/>
                <a:gd name="T82" fmla="*/ 0 w 2742"/>
                <a:gd name="T83" fmla="*/ 0 h 3361"/>
                <a:gd name="T84" fmla="*/ 0 w 2742"/>
                <a:gd name="T85" fmla="*/ 0 h 3361"/>
                <a:gd name="T86" fmla="*/ 0 w 2742"/>
                <a:gd name="T87" fmla="*/ 0 h 3361"/>
                <a:gd name="T88" fmla="*/ 0 w 2742"/>
                <a:gd name="T89" fmla="*/ 0 h 3361"/>
                <a:gd name="T90" fmla="*/ 0 w 2742"/>
                <a:gd name="T91" fmla="*/ 0 h 3361"/>
                <a:gd name="T92" fmla="*/ 0 w 2742"/>
                <a:gd name="T93" fmla="*/ 0 h 3361"/>
                <a:gd name="T94" fmla="*/ 0 w 2742"/>
                <a:gd name="T95" fmla="*/ 0 h 3361"/>
                <a:gd name="T96" fmla="*/ 0 w 2742"/>
                <a:gd name="T97" fmla="*/ 0 h 3361"/>
                <a:gd name="T98" fmla="*/ 0 w 2742"/>
                <a:gd name="T99" fmla="*/ 0 h 3361"/>
                <a:gd name="T100" fmla="*/ 0 w 2742"/>
                <a:gd name="T101" fmla="*/ 0 h 3361"/>
                <a:gd name="T102" fmla="*/ 0 w 2742"/>
                <a:gd name="T103" fmla="*/ 0 h 3361"/>
                <a:gd name="T104" fmla="*/ 0 w 2742"/>
                <a:gd name="T105" fmla="*/ 0 h 3361"/>
                <a:gd name="T106" fmla="*/ 0 w 2742"/>
                <a:gd name="T107" fmla="*/ 0 h 3361"/>
                <a:gd name="T108" fmla="*/ 0 w 2742"/>
                <a:gd name="T109" fmla="*/ 0 h 3361"/>
                <a:gd name="T110" fmla="*/ 0 w 2742"/>
                <a:gd name="T111" fmla="*/ 0 h 3361"/>
                <a:gd name="T112" fmla="*/ 0 w 2742"/>
                <a:gd name="T113" fmla="*/ 0 h 3361"/>
                <a:gd name="T114" fmla="*/ 0 w 2742"/>
                <a:gd name="T115" fmla="*/ 0 h 3361"/>
                <a:gd name="T116" fmla="*/ 0 w 2742"/>
                <a:gd name="T117" fmla="*/ 0 h 33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742"/>
                <a:gd name="T178" fmla="*/ 0 h 3361"/>
                <a:gd name="T179" fmla="*/ 2742 w 2742"/>
                <a:gd name="T180" fmla="*/ 3361 h 33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742" h="3361">
                  <a:moveTo>
                    <a:pt x="239" y="727"/>
                  </a:moveTo>
                  <a:lnTo>
                    <a:pt x="225" y="729"/>
                  </a:lnTo>
                  <a:lnTo>
                    <a:pt x="215" y="736"/>
                  </a:lnTo>
                  <a:lnTo>
                    <a:pt x="207" y="747"/>
                  </a:lnTo>
                  <a:lnTo>
                    <a:pt x="205" y="761"/>
                  </a:lnTo>
                  <a:lnTo>
                    <a:pt x="205" y="3123"/>
                  </a:lnTo>
                  <a:lnTo>
                    <a:pt x="207" y="3136"/>
                  </a:lnTo>
                  <a:lnTo>
                    <a:pt x="215" y="3147"/>
                  </a:lnTo>
                  <a:lnTo>
                    <a:pt x="225" y="3154"/>
                  </a:lnTo>
                  <a:lnTo>
                    <a:pt x="239" y="3157"/>
                  </a:lnTo>
                  <a:lnTo>
                    <a:pt x="2040" y="3157"/>
                  </a:lnTo>
                  <a:lnTo>
                    <a:pt x="2054" y="3154"/>
                  </a:lnTo>
                  <a:lnTo>
                    <a:pt x="2064" y="3147"/>
                  </a:lnTo>
                  <a:lnTo>
                    <a:pt x="2071" y="3136"/>
                  </a:lnTo>
                  <a:lnTo>
                    <a:pt x="2074" y="3123"/>
                  </a:lnTo>
                  <a:lnTo>
                    <a:pt x="2074" y="761"/>
                  </a:lnTo>
                  <a:lnTo>
                    <a:pt x="2071" y="747"/>
                  </a:lnTo>
                  <a:lnTo>
                    <a:pt x="2064" y="736"/>
                  </a:lnTo>
                  <a:lnTo>
                    <a:pt x="2054" y="729"/>
                  </a:lnTo>
                  <a:lnTo>
                    <a:pt x="2040" y="727"/>
                  </a:lnTo>
                  <a:lnTo>
                    <a:pt x="239" y="727"/>
                  </a:lnTo>
                  <a:close/>
                  <a:moveTo>
                    <a:pt x="702" y="204"/>
                  </a:moveTo>
                  <a:lnTo>
                    <a:pt x="688" y="207"/>
                  </a:lnTo>
                  <a:lnTo>
                    <a:pt x="678" y="214"/>
                  </a:lnTo>
                  <a:lnTo>
                    <a:pt x="671" y="225"/>
                  </a:lnTo>
                  <a:lnTo>
                    <a:pt x="668" y="238"/>
                  </a:lnTo>
                  <a:lnTo>
                    <a:pt x="668" y="523"/>
                  </a:lnTo>
                  <a:lnTo>
                    <a:pt x="2040" y="523"/>
                  </a:lnTo>
                  <a:lnTo>
                    <a:pt x="2078" y="526"/>
                  </a:lnTo>
                  <a:lnTo>
                    <a:pt x="2116" y="535"/>
                  </a:lnTo>
                  <a:lnTo>
                    <a:pt x="2150" y="549"/>
                  </a:lnTo>
                  <a:lnTo>
                    <a:pt x="2181" y="568"/>
                  </a:lnTo>
                  <a:lnTo>
                    <a:pt x="2209" y="592"/>
                  </a:lnTo>
                  <a:lnTo>
                    <a:pt x="2232" y="620"/>
                  </a:lnTo>
                  <a:lnTo>
                    <a:pt x="2252" y="651"/>
                  </a:lnTo>
                  <a:lnTo>
                    <a:pt x="2266" y="686"/>
                  </a:lnTo>
                  <a:lnTo>
                    <a:pt x="2276" y="722"/>
                  </a:lnTo>
                  <a:lnTo>
                    <a:pt x="2279" y="761"/>
                  </a:lnTo>
                  <a:lnTo>
                    <a:pt x="2279" y="2634"/>
                  </a:lnTo>
                  <a:lnTo>
                    <a:pt x="2503" y="2634"/>
                  </a:lnTo>
                  <a:lnTo>
                    <a:pt x="2517" y="2632"/>
                  </a:lnTo>
                  <a:lnTo>
                    <a:pt x="2528" y="2624"/>
                  </a:lnTo>
                  <a:lnTo>
                    <a:pt x="2535" y="2614"/>
                  </a:lnTo>
                  <a:lnTo>
                    <a:pt x="2537" y="2600"/>
                  </a:lnTo>
                  <a:lnTo>
                    <a:pt x="2537" y="238"/>
                  </a:lnTo>
                  <a:lnTo>
                    <a:pt x="2535" y="225"/>
                  </a:lnTo>
                  <a:lnTo>
                    <a:pt x="2528" y="214"/>
                  </a:lnTo>
                  <a:lnTo>
                    <a:pt x="2517" y="207"/>
                  </a:lnTo>
                  <a:lnTo>
                    <a:pt x="2503" y="204"/>
                  </a:lnTo>
                  <a:lnTo>
                    <a:pt x="702" y="204"/>
                  </a:lnTo>
                  <a:close/>
                  <a:moveTo>
                    <a:pt x="702" y="0"/>
                  </a:moveTo>
                  <a:lnTo>
                    <a:pt x="2503" y="0"/>
                  </a:lnTo>
                  <a:lnTo>
                    <a:pt x="2542" y="3"/>
                  </a:lnTo>
                  <a:lnTo>
                    <a:pt x="2579" y="13"/>
                  </a:lnTo>
                  <a:lnTo>
                    <a:pt x="2613" y="27"/>
                  </a:lnTo>
                  <a:lnTo>
                    <a:pt x="2645" y="47"/>
                  </a:lnTo>
                  <a:lnTo>
                    <a:pt x="2673" y="70"/>
                  </a:lnTo>
                  <a:lnTo>
                    <a:pt x="2696" y="98"/>
                  </a:lnTo>
                  <a:lnTo>
                    <a:pt x="2716" y="129"/>
                  </a:lnTo>
                  <a:lnTo>
                    <a:pt x="2731" y="163"/>
                  </a:lnTo>
                  <a:lnTo>
                    <a:pt x="2739" y="200"/>
                  </a:lnTo>
                  <a:lnTo>
                    <a:pt x="2742" y="238"/>
                  </a:lnTo>
                  <a:lnTo>
                    <a:pt x="2742" y="2600"/>
                  </a:lnTo>
                  <a:lnTo>
                    <a:pt x="2739" y="2639"/>
                  </a:lnTo>
                  <a:lnTo>
                    <a:pt x="2731" y="2675"/>
                  </a:lnTo>
                  <a:lnTo>
                    <a:pt x="2716" y="2709"/>
                  </a:lnTo>
                  <a:lnTo>
                    <a:pt x="2696" y="2741"/>
                  </a:lnTo>
                  <a:lnTo>
                    <a:pt x="2673" y="2768"/>
                  </a:lnTo>
                  <a:lnTo>
                    <a:pt x="2645" y="2792"/>
                  </a:lnTo>
                  <a:lnTo>
                    <a:pt x="2613" y="2811"/>
                  </a:lnTo>
                  <a:lnTo>
                    <a:pt x="2579" y="2825"/>
                  </a:lnTo>
                  <a:lnTo>
                    <a:pt x="2542" y="2835"/>
                  </a:lnTo>
                  <a:lnTo>
                    <a:pt x="2503" y="2838"/>
                  </a:lnTo>
                  <a:lnTo>
                    <a:pt x="2279" y="2838"/>
                  </a:lnTo>
                  <a:lnTo>
                    <a:pt x="2279" y="3123"/>
                  </a:lnTo>
                  <a:lnTo>
                    <a:pt x="2276" y="3161"/>
                  </a:lnTo>
                  <a:lnTo>
                    <a:pt x="2266" y="3197"/>
                  </a:lnTo>
                  <a:lnTo>
                    <a:pt x="2252" y="3232"/>
                  </a:lnTo>
                  <a:lnTo>
                    <a:pt x="2232" y="3263"/>
                  </a:lnTo>
                  <a:lnTo>
                    <a:pt x="2209" y="3291"/>
                  </a:lnTo>
                  <a:lnTo>
                    <a:pt x="2181" y="3314"/>
                  </a:lnTo>
                  <a:lnTo>
                    <a:pt x="2150" y="3334"/>
                  </a:lnTo>
                  <a:lnTo>
                    <a:pt x="2116" y="3348"/>
                  </a:lnTo>
                  <a:lnTo>
                    <a:pt x="2078" y="3356"/>
                  </a:lnTo>
                  <a:lnTo>
                    <a:pt x="2040" y="3361"/>
                  </a:lnTo>
                  <a:lnTo>
                    <a:pt x="239" y="3361"/>
                  </a:lnTo>
                  <a:lnTo>
                    <a:pt x="199" y="3356"/>
                  </a:lnTo>
                  <a:lnTo>
                    <a:pt x="163" y="3348"/>
                  </a:lnTo>
                  <a:lnTo>
                    <a:pt x="129" y="3334"/>
                  </a:lnTo>
                  <a:lnTo>
                    <a:pt x="97" y="3314"/>
                  </a:lnTo>
                  <a:lnTo>
                    <a:pt x="69" y="3291"/>
                  </a:lnTo>
                  <a:lnTo>
                    <a:pt x="45" y="3263"/>
                  </a:lnTo>
                  <a:lnTo>
                    <a:pt x="27" y="3232"/>
                  </a:lnTo>
                  <a:lnTo>
                    <a:pt x="12" y="3197"/>
                  </a:lnTo>
                  <a:lnTo>
                    <a:pt x="3" y="3161"/>
                  </a:lnTo>
                  <a:lnTo>
                    <a:pt x="0" y="3123"/>
                  </a:lnTo>
                  <a:lnTo>
                    <a:pt x="0" y="761"/>
                  </a:lnTo>
                  <a:lnTo>
                    <a:pt x="3" y="722"/>
                  </a:lnTo>
                  <a:lnTo>
                    <a:pt x="12" y="686"/>
                  </a:lnTo>
                  <a:lnTo>
                    <a:pt x="27" y="651"/>
                  </a:lnTo>
                  <a:lnTo>
                    <a:pt x="45" y="620"/>
                  </a:lnTo>
                  <a:lnTo>
                    <a:pt x="69" y="592"/>
                  </a:lnTo>
                  <a:lnTo>
                    <a:pt x="97" y="568"/>
                  </a:lnTo>
                  <a:lnTo>
                    <a:pt x="129" y="549"/>
                  </a:lnTo>
                  <a:lnTo>
                    <a:pt x="163" y="535"/>
                  </a:lnTo>
                  <a:lnTo>
                    <a:pt x="199" y="526"/>
                  </a:lnTo>
                  <a:lnTo>
                    <a:pt x="239" y="523"/>
                  </a:lnTo>
                  <a:lnTo>
                    <a:pt x="463" y="523"/>
                  </a:lnTo>
                  <a:lnTo>
                    <a:pt x="463" y="238"/>
                  </a:lnTo>
                  <a:lnTo>
                    <a:pt x="466" y="200"/>
                  </a:lnTo>
                  <a:lnTo>
                    <a:pt x="475" y="163"/>
                  </a:lnTo>
                  <a:lnTo>
                    <a:pt x="490" y="129"/>
                  </a:lnTo>
                  <a:lnTo>
                    <a:pt x="510" y="98"/>
                  </a:lnTo>
                  <a:lnTo>
                    <a:pt x="533" y="70"/>
                  </a:lnTo>
                  <a:lnTo>
                    <a:pt x="561" y="47"/>
                  </a:lnTo>
                  <a:lnTo>
                    <a:pt x="592" y="27"/>
                  </a:lnTo>
                  <a:lnTo>
                    <a:pt x="626" y="13"/>
                  </a:lnTo>
                  <a:lnTo>
                    <a:pt x="664" y="3"/>
                  </a:lnTo>
                  <a:lnTo>
                    <a:pt x="7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1" name="Freeform 151"/>
            <p:cNvSpPr>
              <a:spLocks/>
            </p:cNvSpPr>
            <p:nvPr/>
          </p:nvSpPr>
          <p:spPr bwMode="auto">
            <a:xfrm>
              <a:off x="5778" y="2856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0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5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2"/>
                  </a:lnTo>
                  <a:lnTo>
                    <a:pt x="1311" y="193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3"/>
                  </a:lnTo>
                  <a:lnTo>
                    <a:pt x="38" y="182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5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0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2" name="Freeform 152"/>
            <p:cNvSpPr>
              <a:spLocks/>
            </p:cNvSpPr>
            <p:nvPr/>
          </p:nvSpPr>
          <p:spPr bwMode="auto">
            <a:xfrm>
              <a:off x="5778" y="2886"/>
              <a:ext cx="92" cy="14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8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3"/>
                  </a:lnTo>
                  <a:lnTo>
                    <a:pt x="1290" y="202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2"/>
                  </a:lnTo>
                  <a:lnTo>
                    <a:pt x="58" y="193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8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3" name="Freeform 153"/>
            <p:cNvSpPr>
              <a:spLocks/>
            </p:cNvSpPr>
            <p:nvPr/>
          </p:nvSpPr>
          <p:spPr bwMode="auto">
            <a:xfrm>
              <a:off x="5778" y="2917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4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7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4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4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7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4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4" name="Freeform 154"/>
            <p:cNvSpPr>
              <a:spLocks/>
            </p:cNvSpPr>
            <p:nvPr/>
          </p:nvSpPr>
          <p:spPr bwMode="auto">
            <a:xfrm>
              <a:off x="5778" y="2947"/>
              <a:ext cx="92" cy="14"/>
            </a:xfrm>
            <a:custGeom>
              <a:avLst/>
              <a:gdLst>
                <a:gd name="T0" fmla="*/ 0 w 1369"/>
                <a:gd name="T1" fmla="*/ 0 h 203"/>
                <a:gd name="T2" fmla="*/ 0 w 1369"/>
                <a:gd name="T3" fmla="*/ 0 h 203"/>
                <a:gd name="T4" fmla="*/ 0 w 1369"/>
                <a:gd name="T5" fmla="*/ 0 h 203"/>
                <a:gd name="T6" fmla="*/ 0 w 1369"/>
                <a:gd name="T7" fmla="*/ 0 h 203"/>
                <a:gd name="T8" fmla="*/ 0 w 1369"/>
                <a:gd name="T9" fmla="*/ 0 h 203"/>
                <a:gd name="T10" fmla="*/ 0 w 1369"/>
                <a:gd name="T11" fmla="*/ 0 h 203"/>
                <a:gd name="T12" fmla="*/ 0 w 1369"/>
                <a:gd name="T13" fmla="*/ 0 h 203"/>
                <a:gd name="T14" fmla="*/ 0 w 1369"/>
                <a:gd name="T15" fmla="*/ 0 h 203"/>
                <a:gd name="T16" fmla="*/ 0 w 1369"/>
                <a:gd name="T17" fmla="*/ 0 h 203"/>
                <a:gd name="T18" fmla="*/ 0 w 1369"/>
                <a:gd name="T19" fmla="*/ 0 h 203"/>
                <a:gd name="T20" fmla="*/ 0 w 1369"/>
                <a:gd name="T21" fmla="*/ 0 h 203"/>
                <a:gd name="T22" fmla="*/ 0 w 1369"/>
                <a:gd name="T23" fmla="*/ 0 h 203"/>
                <a:gd name="T24" fmla="*/ 0 w 1369"/>
                <a:gd name="T25" fmla="*/ 0 h 203"/>
                <a:gd name="T26" fmla="*/ 0 w 1369"/>
                <a:gd name="T27" fmla="*/ 0 h 203"/>
                <a:gd name="T28" fmla="*/ 0 w 1369"/>
                <a:gd name="T29" fmla="*/ 0 h 203"/>
                <a:gd name="T30" fmla="*/ 0 w 1369"/>
                <a:gd name="T31" fmla="*/ 0 h 203"/>
                <a:gd name="T32" fmla="*/ 0 w 1369"/>
                <a:gd name="T33" fmla="*/ 0 h 203"/>
                <a:gd name="T34" fmla="*/ 0 w 1369"/>
                <a:gd name="T35" fmla="*/ 0 h 203"/>
                <a:gd name="T36" fmla="*/ 0 w 1369"/>
                <a:gd name="T37" fmla="*/ 0 h 203"/>
                <a:gd name="T38" fmla="*/ 0 w 1369"/>
                <a:gd name="T39" fmla="*/ 0 h 203"/>
                <a:gd name="T40" fmla="*/ 0 w 1369"/>
                <a:gd name="T41" fmla="*/ 0 h 203"/>
                <a:gd name="T42" fmla="*/ 0 w 1369"/>
                <a:gd name="T43" fmla="*/ 0 h 203"/>
                <a:gd name="T44" fmla="*/ 0 w 1369"/>
                <a:gd name="T45" fmla="*/ 0 h 203"/>
                <a:gd name="T46" fmla="*/ 0 w 1369"/>
                <a:gd name="T47" fmla="*/ 0 h 203"/>
                <a:gd name="T48" fmla="*/ 0 w 1369"/>
                <a:gd name="T49" fmla="*/ 0 h 203"/>
                <a:gd name="T50" fmla="*/ 0 w 1369"/>
                <a:gd name="T51" fmla="*/ 0 h 203"/>
                <a:gd name="T52" fmla="*/ 0 w 1369"/>
                <a:gd name="T53" fmla="*/ 0 h 203"/>
                <a:gd name="T54" fmla="*/ 0 w 1369"/>
                <a:gd name="T55" fmla="*/ 0 h 203"/>
                <a:gd name="T56" fmla="*/ 0 w 1369"/>
                <a:gd name="T57" fmla="*/ 0 h 203"/>
                <a:gd name="T58" fmla="*/ 0 w 1369"/>
                <a:gd name="T59" fmla="*/ 0 h 203"/>
                <a:gd name="T60" fmla="*/ 0 w 1369"/>
                <a:gd name="T61" fmla="*/ 0 h 20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3"/>
                <a:gd name="T95" fmla="*/ 1369 w 1369"/>
                <a:gd name="T96" fmla="*/ 203 h 20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3">
                  <a:moveTo>
                    <a:pt x="102" y="0"/>
                  </a:moveTo>
                  <a:lnTo>
                    <a:pt x="1267" y="0"/>
                  </a:lnTo>
                  <a:lnTo>
                    <a:pt x="1290" y="2"/>
                  </a:lnTo>
                  <a:lnTo>
                    <a:pt x="1311" y="10"/>
                  </a:lnTo>
                  <a:lnTo>
                    <a:pt x="1331" y="22"/>
                  </a:lnTo>
                  <a:lnTo>
                    <a:pt x="1346" y="38"/>
                  </a:lnTo>
                  <a:lnTo>
                    <a:pt x="1359" y="56"/>
                  </a:lnTo>
                  <a:lnTo>
                    <a:pt x="1366" y="78"/>
                  </a:lnTo>
                  <a:lnTo>
                    <a:pt x="1369" y="101"/>
                  </a:lnTo>
                  <a:lnTo>
                    <a:pt x="1366" y="125"/>
                  </a:lnTo>
                  <a:lnTo>
                    <a:pt x="1359" y="145"/>
                  </a:lnTo>
                  <a:lnTo>
                    <a:pt x="1346" y="165"/>
                  </a:lnTo>
                  <a:lnTo>
                    <a:pt x="1331" y="180"/>
                  </a:lnTo>
                  <a:lnTo>
                    <a:pt x="1311" y="193"/>
                  </a:lnTo>
                  <a:lnTo>
                    <a:pt x="1290" y="200"/>
                  </a:lnTo>
                  <a:lnTo>
                    <a:pt x="1267" y="203"/>
                  </a:lnTo>
                  <a:lnTo>
                    <a:pt x="102" y="203"/>
                  </a:lnTo>
                  <a:lnTo>
                    <a:pt x="78" y="200"/>
                  </a:lnTo>
                  <a:lnTo>
                    <a:pt x="58" y="193"/>
                  </a:lnTo>
                  <a:lnTo>
                    <a:pt x="38" y="180"/>
                  </a:lnTo>
                  <a:lnTo>
                    <a:pt x="22" y="165"/>
                  </a:lnTo>
                  <a:lnTo>
                    <a:pt x="10" y="145"/>
                  </a:lnTo>
                  <a:lnTo>
                    <a:pt x="3" y="125"/>
                  </a:lnTo>
                  <a:lnTo>
                    <a:pt x="0" y="101"/>
                  </a:lnTo>
                  <a:lnTo>
                    <a:pt x="3" y="78"/>
                  </a:lnTo>
                  <a:lnTo>
                    <a:pt x="10" y="56"/>
                  </a:lnTo>
                  <a:lnTo>
                    <a:pt x="22" y="38"/>
                  </a:lnTo>
                  <a:lnTo>
                    <a:pt x="38" y="22"/>
                  </a:lnTo>
                  <a:lnTo>
                    <a:pt x="58" y="10"/>
                  </a:lnTo>
                  <a:lnTo>
                    <a:pt x="78" y="2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sp>
        <p:nvSpPr>
          <p:cNvPr id="25" name="Text Placeholder 2"/>
          <p:cNvSpPr txBox="1">
            <a:spLocks/>
          </p:cNvSpPr>
          <p:nvPr/>
        </p:nvSpPr>
        <p:spPr bwMode="auto">
          <a:xfrm>
            <a:off x="5253382" y="3380702"/>
            <a:ext cx="4246166" cy="2824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 smtClean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Cel krótkoterminowy: raport wskazujący potencjał i kierunki rozwoju </a:t>
            </a:r>
            <a:r>
              <a:rPr lang="pl-PL" altLang="pl-PL" sz="1300" dirty="0" err="1" smtClean="0">
                <a:solidFill>
                  <a:srgbClr val="000000"/>
                </a:solidFill>
                <a:latin typeface="Calibri" pitchFamily="34" charset="0"/>
              </a:rPr>
              <a:t>IoT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 w Polsce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Zniesieni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barier prawnych dla rozwoju gospodarki w obszarze </a:t>
            </a:r>
            <a:r>
              <a:rPr lang="pl-PL" altLang="pl-PL" sz="1300" dirty="0" err="1" smtClean="0">
                <a:solidFill>
                  <a:srgbClr val="000000"/>
                </a:solidFill>
                <a:latin typeface="Calibri" pitchFamily="34" charset="0"/>
              </a:rPr>
              <a:t>IoT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 i wprowadzeni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regulacji stymulujących rynek 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sz="1300" dirty="0" smtClean="0">
                <a:solidFill>
                  <a:srgbClr val="000000"/>
                </a:solidFill>
                <a:latin typeface="Calibri" pitchFamily="34" charset="0"/>
              </a:rPr>
              <a:t>Uruchomienie projektu / projektów R&amp;D 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sz="1300" dirty="0" smtClean="0">
                <a:solidFill>
                  <a:srgbClr val="000000"/>
                </a:solidFill>
                <a:latin typeface="Calibri" pitchFamily="34" charset="0"/>
              </a:rPr>
              <a:t>Rozwój branż o największym potencjale dla </a:t>
            </a:r>
            <a:r>
              <a:rPr lang="pl-PL" sz="1300" dirty="0">
                <a:solidFill>
                  <a:srgbClr val="000000"/>
                </a:solidFill>
                <a:latin typeface="Calibri" pitchFamily="34" charset="0"/>
              </a:rPr>
              <a:t>rozwoju </a:t>
            </a:r>
            <a:r>
              <a:rPr lang="pl-PL" sz="1300" dirty="0" smtClean="0">
                <a:solidFill>
                  <a:srgbClr val="000000"/>
                </a:solidFill>
                <a:latin typeface="Calibri" pitchFamily="34" charset="0"/>
              </a:rPr>
              <a:t>technologii </a:t>
            </a:r>
            <a:r>
              <a:rPr lang="pl-PL" sz="1300" dirty="0" err="1" smtClean="0">
                <a:solidFill>
                  <a:srgbClr val="000000"/>
                </a:solidFill>
                <a:latin typeface="Calibri" pitchFamily="34" charset="0"/>
              </a:rPr>
              <a:t>IoT</a:t>
            </a:r>
            <a:r>
              <a:rPr lang="pl-PL" sz="1300" dirty="0" smtClean="0">
                <a:solidFill>
                  <a:srgbClr val="000000"/>
                </a:solidFill>
                <a:latin typeface="Calibri" pitchFamily="34" charset="0"/>
              </a:rPr>
              <a:t> (gdzie </a:t>
            </a:r>
            <a:r>
              <a:rPr lang="pl-PL" sz="1300" dirty="0">
                <a:solidFill>
                  <a:srgbClr val="000000"/>
                </a:solidFill>
                <a:latin typeface="Calibri" pitchFamily="34" charset="0"/>
              </a:rPr>
              <a:t>Polska może uzyskać przewagę konkurencyjną w skali </a:t>
            </a:r>
            <a:r>
              <a:rPr lang="pl-PL" sz="1300" dirty="0" smtClean="0">
                <a:solidFill>
                  <a:srgbClr val="000000"/>
                </a:solidFill>
                <a:latin typeface="Calibri" pitchFamily="34" charset="0"/>
              </a:rPr>
              <a:t>międzynarodowej)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123821" lvl="1">
              <a:buClr>
                <a:srgbClr val="0D5681"/>
              </a:buClr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1828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2219505" y="1705099"/>
            <a:ext cx="7686495" cy="1939925"/>
          </a:xfrm>
        </p:spPr>
        <p:txBody>
          <a:bodyPr/>
          <a:lstStyle/>
          <a:p>
            <a:r>
              <a:rPr lang="pl-PL" sz="2925" b="1" dirty="0" smtClean="0">
                <a:solidFill>
                  <a:srgbClr val="0070C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		Dziękuję </a:t>
            </a:r>
            <a:endParaRPr lang="pl-PL" sz="2925" b="1" dirty="0">
              <a:solidFill>
                <a:srgbClr val="0070C0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ytuł 1"/>
          <p:cNvSpPr txBox="1">
            <a:spLocks/>
          </p:cNvSpPr>
          <p:nvPr/>
        </p:nvSpPr>
        <p:spPr>
          <a:xfrm>
            <a:off x="2219504" y="2959480"/>
            <a:ext cx="5757863" cy="2258103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pl-PL" sz="8000" b="0" i="0" u="none" strike="noStrike" kern="1200" cap="none" spc="0" normalizeH="0" baseline="0" smtClean="0">
                <a:ln>
                  <a:noFill/>
                </a:ln>
                <a:solidFill>
                  <a:srgbClr val="53585F"/>
                </a:solidFill>
                <a:effectLst/>
                <a:uFillTx/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endParaRPr lang="pl-PL" sz="1950" dirty="0"/>
          </a:p>
        </p:txBody>
      </p:sp>
    </p:spTree>
    <p:extLst>
      <p:ext uri="{BB962C8B-B14F-4D97-AF65-F5344CB8AC3E}">
        <p14:creationId xmlns:p14="http://schemas.microsoft.com/office/powerpoint/2010/main" val="18825768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2219505" y="1865968"/>
            <a:ext cx="7686495" cy="1939925"/>
          </a:xfrm>
        </p:spPr>
        <p:txBody>
          <a:bodyPr/>
          <a:lstStyle/>
          <a:p>
            <a:r>
              <a:rPr lang="pl-PL" sz="2925" b="1" dirty="0" smtClean="0">
                <a:solidFill>
                  <a:srgbClr val="0070C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osiedzenia Komitetu Sterującego </a:t>
            </a:r>
            <a:r>
              <a:rPr lang="pl-PL" sz="2925" b="1" dirty="0">
                <a:solidFill>
                  <a:srgbClr val="0070C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rogramu </a:t>
            </a:r>
            <a:br>
              <a:rPr lang="pl-PL" sz="2925" b="1" dirty="0">
                <a:solidFill>
                  <a:srgbClr val="0070C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</a:br>
            <a:r>
              <a:rPr lang="pl-PL" sz="2925" b="1" dirty="0">
                <a:solidFill>
                  <a:srgbClr val="0070C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„Od papierowej do cyfrowej Polski” – podsumowanie 2018 roku </a:t>
            </a:r>
          </a:p>
        </p:txBody>
      </p:sp>
      <p:sp>
        <p:nvSpPr>
          <p:cNvPr id="3" name="Tytuł 1"/>
          <p:cNvSpPr txBox="1">
            <a:spLocks/>
          </p:cNvSpPr>
          <p:nvPr/>
        </p:nvSpPr>
        <p:spPr>
          <a:xfrm>
            <a:off x="2219504" y="2959480"/>
            <a:ext cx="5757863" cy="2258103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pl-PL" sz="8000" b="0" i="0" u="none" strike="noStrike" kern="1200" cap="none" spc="0" normalizeH="0" baseline="0" smtClean="0">
                <a:ln>
                  <a:noFill/>
                </a:ln>
                <a:solidFill>
                  <a:srgbClr val="53585F"/>
                </a:solidFill>
                <a:effectLst/>
                <a:uFillTx/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endParaRPr lang="pl-PL" sz="1950" dirty="0"/>
          </a:p>
        </p:txBody>
      </p:sp>
    </p:spTree>
    <p:extLst>
      <p:ext uri="{BB962C8B-B14F-4D97-AF65-F5344CB8AC3E}">
        <p14:creationId xmlns:p14="http://schemas.microsoft.com/office/powerpoint/2010/main" val="23887359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315399" cy="831850"/>
          </a:xfrm>
        </p:spPr>
        <p:txBody>
          <a:bodyPr/>
          <a:lstStyle/>
          <a:p>
            <a:r>
              <a:rPr lang="pl-PL" dirty="0" smtClean="0">
                <a:solidFill>
                  <a:schemeClr val="tx1"/>
                </a:solidFill>
              </a:rPr>
              <a:t>Pierwsze posiedzenie w 2018 roku - 18 </a:t>
            </a:r>
            <a:r>
              <a:rPr lang="pl-PL" dirty="0" smtClean="0">
                <a:solidFill>
                  <a:schemeClr val="tx1"/>
                </a:solidFill>
              </a:rPr>
              <a:t>czerwca </a:t>
            </a:r>
            <a:r>
              <a:rPr lang="pl-PL" dirty="0" smtClean="0">
                <a:solidFill>
                  <a:schemeClr val="tx1"/>
                </a:solidFill>
              </a:rPr>
              <a:t/>
            </a:r>
            <a:br>
              <a:rPr lang="pl-PL" dirty="0" smtClean="0">
                <a:solidFill>
                  <a:schemeClr val="tx1"/>
                </a:solidFill>
              </a:rPr>
            </a:br>
            <a:r>
              <a:rPr lang="pl-PL" sz="2000" dirty="0" smtClean="0">
                <a:solidFill>
                  <a:schemeClr val="tx1"/>
                </a:solidFill>
              </a:rPr>
              <a:t>Ustalenie składu Komitetu Sterującego i koordynatorów</a:t>
            </a:r>
            <a:endParaRPr lang="pl-PL" sz="2000" dirty="0">
              <a:solidFill>
                <a:schemeClr val="tx1"/>
              </a:solidFill>
            </a:endParaRPr>
          </a:p>
        </p:txBody>
      </p:sp>
      <p:sp>
        <p:nvSpPr>
          <p:cNvPr id="13" name="Tytuł 1"/>
          <p:cNvSpPr txBox="1">
            <a:spLocks/>
          </p:cNvSpPr>
          <p:nvPr/>
        </p:nvSpPr>
        <p:spPr bwMode="auto">
          <a:xfrm>
            <a:off x="461723" y="1733054"/>
            <a:ext cx="807243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0D568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9pPr>
          </a:lstStyle>
          <a:p>
            <a:r>
              <a:rPr lang="pl-PL" sz="1500" dirty="0" smtClean="0">
                <a:solidFill>
                  <a:schemeClr val="tx1"/>
                </a:solidFill>
              </a:rPr>
              <a:t>Przewodniczący: Marek Zagórski</a:t>
            </a:r>
            <a:r>
              <a:rPr lang="pl-PL" sz="1500" b="0" dirty="0" smtClean="0">
                <a:solidFill>
                  <a:schemeClr val="tx1"/>
                </a:solidFill>
              </a:rPr>
              <a:t>, Minister </a:t>
            </a:r>
            <a:r>
              <a:rPr lang="pl-PL" sz="1500" b="0" dirty="0" smtClean="0">
                <a:solidFill>
                  <a:schemeClr val="tx1"/>
                </a:solidFill>
              </a:rPr>
              <a:t>Cyfryzacji</a:t>
            </a:r>
            <a:endParaRPr lang="pl-PL" sz="1500" b="0" dirty="0" smtClean="0">
              <a:solidFill>
                <a:schemeClr val="tx1"/>
              </a:solidFill>
            </a:endParaRPr>
          </a:p>
          <a:p>
            <a:endParaRPr lang="pl-PL" sz="1500" dirty="0">
              <a:solidFill>
                <a:schemeClr val="tx1"/>
              </a:solidFill>
            </a:endParaRPr>
          </a:p>
          <a:p>
            <a:r>
              <a:rPr lang="pl-PL" sz="1500" dirty="0" smtClean="0">
                <a:solidFill>
                  <a:schemeClr val="tx1"/>
                </a:solidFill>
              </a:rPr>
              <a:t>Członkowie Komitetu Sterującego:</a:t>
            </a:r>
            <a:endParaRPr lang="pl-PL" sz="1500" dirty="0" smtClean="0">
              <a:solidFill>
                <a:schemeClr val="tx1"/>
              </a:solidFill>
            </a:endParaRPr>
          </a:p>
          <a:p>
            <a:endParaRPr lang="pl-PL" sz="1500" dirty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pl-PL" sz="1500" dirty="0" smtClean="0">
                <a:solidFill>
                  <a:schemeClr val="tx1"/>
                </a:solidFill>
              </a:rPr>
              <a:t>Tadeusz Kościński </a:t>
            </a:r>
            <a:r>
              <a:rPr lang="pl-PL" sz="1500" b="0" dirty="0" smtClean="0">
                <a:solidFill>
                  <a:schemeClr val="tx1"/>
                </a:solidFill>
              </a:rPr>
              <a:t>–</a:t>
            </a:r>
            <a:r>
              <a:rPr lang="pl-PL" sz="1500" dirty="0" smtClean="0">
                <a:solidFill>
                  <a:schemeClr val="tx1"/>
                </a:solidFill>
              </a:rPr>
              <a:t> </a:t>
            </a:r>
            <a:r>
              <a:rPr lang="pl-PL" sz="1500" b="0" dirty="0" smtClean="0">
                <a:solidFill>
                  <a:schemeClr val="tx1"/>
                </a:solidFill>
              </a:rPr>
              <a:t>Podsekretarz Stanu w Ministerstwie Przedsiębiorczości i Technologii,</a:t>
            </a:r>
          </a:p>
          <a:p>
            <a:pPr marL="457200" indent="-457200">
              <a:buFont typeface="+mj-lt"/>
              <a:buAutoNum type="arabicPeriod"/>
            </a:pPr>
            <a:r>
              <a:rPr lang="pl-PL" sz="1500" dirty="0" smtClean="0">
                <a:solidFill>
                  <a:schemeClr val="tx1"/>
                </a:solidFill>
              </a:rPr>
              <a:t>Maciej Kopeć</a:t>
            </a:r>
            <a:r>
              <a:rPr lang="pl-PL" sz="1500" b="0" dirty="0" smtClean="0">
                <a:solidFill>
                  <a:schemeClr val="tx1"/>
                </a:solidFill>
              </a:rPr>
              <a:t> – Podsekretarz Stanu w Ministerstwie Edukacji narodowej,</a:t>
            </a:r>
          </a:p>
          <a:p>
            <a:pPr marL="457200" indent="-457200">
              <a:buFont typeface="+mj-lt"/>
              <a:buAutoNum type="arabicPeriod"/>
            </a:pPr>
            <a:r>
              <a:rPr lang="pl-PL" sz="1500" dirty="0" smtClean="0">
                <a:solidFill>
                  <a:schemeClr val="tx1"/>
                </a:solidFill>
              </a:rPr>
              <a:t>Przemysław Koch </a:t>
            </a:r>
            <a:r>
              <a:rPr lang="pl-PL" sz="1500" b="0" dirty="0" smtClean="0">
                <a:solidFill>
                  <a:schemeClr val="tx1"/>
                </a:solidFill>
              </a:rPr>
              <a:t>– Pełnomocnik Ministra Finansów ds. Informatyzacji.</a:t>
            </a:r>
            <a:endParaRPr lang="pl-PL" sz="1500" b="0" dirty="0">
              <a:solidFill>
                <a:schemeClr val="tx1"/>
              </a:solidFill>
            </a:endParaRPr>
          </a:p>
        </p:txBody>
      </p:sp>
      <p:sp>
        <p:nvSpPr>
          <p:cNvPr id="15" name="Tytuł 1"/>
          <p:cNvSpPr txBox="1">
            <a:spLocks/>
          </p:cNvSpPr>
          <p:nvPr/>
        </p:nvSpPr>
        <p:spPr bwMode="auto">
          <a:xfrm>
            <a:off x="461723" y="3068960"/>
            <a:ext cx="8315399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0D568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9pPr>
          </a:lstStyle>
          <a:p>
            <a:r>
              <a:rPr lang="pl-PL" sz="1500" dirty="0" smtClean="0">
                <a:solidFill>
                  <a:schemeClr val="tx1"/>
                </a:solidFill>
              </a:rPr>
              <a:t>Osobami koordynującymi prace programu zostali: </a:t>
            </a:r>
            <a:endParaRPr lang="pl-PL" sz="1500" dirty="0">
              <a:solidFill>
                <a:schemeClr val="tx1"/>
              </a:solidFill>
            </a:endParaRPr>
          </a:p>
          <a:p>
            <a:r>
              <a:rPr lang="pl-PL" dirty="0" smtClean="0">
                <a:solidFill>
                  <a:schemeClr val="tx1"/>
                </a:solidFill>
              </a:rPr>
              <a:t> </a:t>
            </a:r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16" name="Tytuł 1"/>
          <p:cNvSpPr txBox="1">
            <a:spLocks/>
          </p:cNvSpPr>
          <p:nvPr/>
        </p:nvSpPr>
        <p:spPr bwMode="auto">
          <a:xfrm>
            <a:off x="461723" y="3501008"/>
            <a:ext cx="8315399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0D568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pl-PL" sz="1500" dirty="0" smtClean="0">
                <a:solidFill>
                  <a:schemeClr val="tx1"/>
                </a:solidFill>
              </a:rPr>
              <a:t>Krzysztof Łysy </a:t>
            </a:r>
            <a:r>
              <a:rPr lang="pl-PL" sz="1500" b="0" dirty="0" smtClean="0">
                <a:solidFill>
                  <a:schemeClr val="tx1"/>
                </a:solidFill>
              </a:rPr>
              <a:t>– </a:t>
            </a:r>
            <a:r>
              <a:rPr lang="pl-PL" sz="1500" b="0" dirty="0" smtClean="0">
                <a:solidFill>
                  <a:schemeClr val="tx1"/>
                </a:solidFill>
              </a:rPr>
              <a:t>Koordynator Programu ze strony biznesu, </a:t>
            </a:r>
            <a:endParaRPr lang="pl-PL" sz="1500" b="0" dirty="0" smtClean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pl-PL" sz="1500" dirty="0" smtClean="0">
                <a:solidFill>
                  <a:schemeClr val="tx1"/>
                </a:solidFill>
              </a:rPr>
              <a:t>Maciej Wyszoczarski </a:t>
            </a:r>
            <a:r>
              <a:rPr lang="pl-PL" sz="1500" b="0" dirty="0" smtClean="0">
                <a:solidFill>
                  <a:schemeClr val="tx1"/>
                </a:solidFill>
              </a:rPr>
              <a:t>– Koordynator Liderów Strumieni, </a:t>
            </a:r>
          </a:p>
          <a:p>
            <a:pPr marL="457200" indent="-457200">
              <a:buFont typeface="+mj-lt"/>
              <a:buAutoNum type="arabicPeriod"/>
            </a:pPr>
            <a:r>
              <a:rPr lang="pl-PL" sz="1500" dirty="0" smtClean="0">
                <a:solidFill>
                  <a:schemeClr val="tx1"/>
                </a:solidFill>
              </a:rPr>
              <a:t>Jacek Paziewski </a:t>
            </a:r>
            <a:r>
              <a:rPr lang="pl-PL" sz="1500" b="0" dirty="0" smtClean="0">
                <a:solidFill>
                  <a:schemeClr val="tx1"/>
                </a:solidFill>
              </a:rPr>
              <a:t>– </a:t>
            </a:r>
            <a:r>
              <a:rPr lang="pl-PL" sz="1500" b="0" dirty="0">
                <a:solidFill>
                  <a:schemeClr val="tx1"/>
                </a:solidFill>
              </a:rPr>
              <a:t>K</a:t>
            </a:r>
            <a:r>
              <a:rPr lang="pl-PL" sz="1500" b="0" dirty="0" smtClean="0">
                <a:solidFill>
                  <a:schemeClr val="tx1"/>
                </a:solidFill>
              </a:rPr>
              <a:t>oordynator </a:t>
            </a:r>
            <a:r>
              <a:rPr lang="pl-PL" sz="1500" b="0" dirty="0" smtClean="0">
                <a:solidFill>
                  <a:schemeClr val="tx1"/>
                </a:solidFill>
              </a:rPr>
              <a:t>Programu ze strony administracji. </a:t>
            </a:r>
            <a:endParaRPr lang="pl-PL" sz="1500" b="0" dirty="0">
              <a:solidFill>
                <a:schemeClr val="tx1"/>
              </a:solidFill>
            </a:endParaRPr>
          </a:p>
        </p:txBody>
      </p:sp>
      <p:sp>
        <p:nvSpPr>
          <p:cNvPr id="17" name="Tytuł 1"/>
          <p:cNvSpPr txBox="1">
            <a:spLocks/>
          </p:cNvSpPr>
          <p:nvPr/>
        </p:nvSpPr>
        <p:spPr bwMode="auto">
          <a:xfrm>
            <a:off x="472836" y="4841892"/>
            <a:ext cx="786454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0D568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9pPr>
          </a:lstStyle>
          <a:p>
            <a:r>
              <a:rPr lang="pl-PL" sz="1500" dirty="0" smtClean="0">
                <a:solidFill>
                  <a:schemeClr val="tx1"/>
                </a:solidFill>
              </a:rPr>
              <a:t>Ponadto wskazano nowych liderów wdrożeniowych strumieni: </a:t>
            </a:r>
          </a:p>
          <a:p>
            <a:endParaRPr lang="pl-PL" sz="1500" b="0" dirty="0">
              <a:solidFill>
                <a:schemeClr val="tx1"/>
              </a:solidFill>
            </a:endParaRPr>
          </a:p>
          <a:p>
            <a:r>
              <a:rPr lang="pl-PL" sz="1500" b="0" dirty="0" smtClean="0">
                <a:solidFill>
                  <a:schemeClr val="tx1"/>
                </a:solidFill>
              </a:rPr>
              <a:t>„Cyfrowa Tożsamość”, „Cyfrowe Usługi Publiczne”, „Zwiększenie obrotu bezgotówkowego”, „e-Faktura i e-Paragon”, „e-Edukacja”, „Sztuczna Inteligencja”, „</a:t>
            </a:r>
            <a:r>
              <a:rPr lang="pl-PL" sz="1500" b="0" dirty="0">
                <a:solidFill>
                  <a:schemeClr val="tx1"/>
                </a:solidFill>
              </a:rPr>
              <a:t>I</a:t>
            </a:r>
            <a:r>
              <a:rPr lang="pl-PL" sz="1500" b="0" dirty="0" smtClean="0">
                <a:solidFill>
                  <a:schemeClr val="tx1"/>
                </a:solidFill>
              </a:rPr>
              <a:t>nternet Rzeczy”.  </a:t>
            </a:r>
            <a:endParaRPr lang="pl-PL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574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4024" y="188640"/>
            <a:ext cx="8531423" cy="831850"/>
          </a:xfrm>
        </p:spPr>
        <p:txBody>
          <a:bodyPr/>
          <a:lstStyle/>
          <a:p>
            <a:r>
              <a:rPr lang="pl-PL" dirty="0" smtClean="0">
                <a:solidFill>
                  <a:schemeClr val="tx1"/>
                </a:solidFill>
              </a:rPr>
              <a:t>Decyzje podjęte na posiedzeniu w dniu 18 czerwca 2018 roku  </a:t>
            </a:r>
            <a:endParaRPr lang="pl-PL" dirty="0">
              <a:solidFill>
                <a:schemeClr val="tx1"/>
              </a:solidFill>
            </a:endParaRPr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741" y="690622"/>
            <a:ext cx="8748518" cy="5474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970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315399" cy="831850"/>
          </a:xfrm>
        </p:spPr>
        <p:txBody>
          <a:bodyPr/>
          <a:lstStyle/>
          <a:p>
            <a:r>
              <a:rPr lang="pl-PL" dirty="0" smtClean="0">
                <a:solidFill>
                  <a:schemeClr val="tx1"/>
                </a:solidFill>
              </a:rPr>
              <a:t>Drugie</a:t>
            </a:r>
            <a:r>
              <a:rPr lang="pl-PL" dirty="0" smtClean="0">
                <a:solidFill>
                  <a:schemeClr val="tx1"/>
                </a:solidFill>
              </a:rPr>
              <a:t> posiedzenie w 2018 roku - 30 lipca </a:t>
            </a:r>
            <a:br>
              <a:rPr lang="pl-PL" dirty="0" smtClean="0">
                <a:solidFill>
                  <a:schemeClr val="tx1"/>
                </a:solidFill>
              </a:rPr>
            </a:br>
            <a:r>
              <a:rPr lang="pl-PL" sz="1800" dirty="0" smtClean="0">
                <a:solidFill>
                  <a:schemeClr val="tx1"/>
                </a:solidFill>
              </a:rPr>
              <a:t>Przegląd statusu działań strumieni </a:t>
            </a:r>
            <a:br>
              <a:rPr lang="pl-PL" sz="1800" dirty="0" smtClean="0">
                <a:solidFill>
                  <a:schemeClr val="tx1"/>
                </a:solidFill>
              </a:rPr>
            </a:br>
            <a:r>
              <a:rPr lang="pl-PL" sz="1800" dirty="0" smtClean="0">
                <a:solidFill>
                  <a:schemeClr val="tx1"/>
                </a:solidFill>
              </a:rPr>
              <a:t>Zatwierdzenie planu działań nowych strumieni </a:t>
            </a:r>
            <a:endParaRPr lang="pl-PL" sz="1800" dirty="0">
              <a:solidFill>
                <a:schemeClr val="tx1"/>
              </a:solidFill>
            </a:endParaRPr>
          </a:p>
        </p:txBody>
      </p:sp>
      <p:sp>
        <p:nvSpPr>
          <p:cNvPr id="15" name="Tytuł 1"/>
          <p:cNvSpPr txBox="1">
            <a:spLocks/>
          </p:cNvSpPr>
          <p:nvPr/>
        </p:nvSpPr>
        <p:spPr bwMode="auto">
          <a:xfrm>
            <a:off x="461723" y="1412776"/>
            <a:ext cx="8315399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0D568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9pPr>
          </a:lstStyle>
          <a:p>
            <a:r>
              <a:rPr lang="pl-PL" sz="1500" dirty="0" smtClean="0">
                <a:solidFill>
                  <a:schemeClr val="tx1"/>
                </a:solidFill>
              </a:rPr>
              <a:t>Decyzje podjęte na posiedzeniu:</a:t>
            </a:r>
            <a:r>
              <a:rPr lang="pl-PL" sz="1500" dirty="0" smtClean="0">
                <a:solidFill>
                  <a:schemeClr val="tx1"/>
                </a:solidFill>
              </a:rPr>
              <a:t> </a:t>
            </a:r>
            <a:endParaRPr lang="pl-PL" sz="1500" dirty="0">
              <a:solidFill>
                <a:schemeClr val="tx1"/>
              </a:solidFill>
            </a:endParaRPr>
          </a:p>
          <a:p>
            <a:r>
              <a:rPr lang="pl-PL" dirty="0" smtClean="0">
                <a:solidFill>
                  <a:schemeClr val="tx1"/>
                </a:solidFill>
              </a:rPr>
              <a:t> </a:t>
            </a:r>
            <a:endParaRPr lang="pl-PL" dirty="0">
              <a:solidFill>
                <a:schemeClr val="tx1"/>
              </a:solidFill>
            </a:endParaRPr>
          </a:p>
        </p:txBody>
      </p:sp>
      <p:pic>
        <p:nvPicPr>
          <p:cNvPr id="7" name="Obraz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488" y="1955389"/>
            <a:ext cx="8928992" cy="3849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382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2661154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7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17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altLang="en-US" dirty="0" smtClean="0">
                <a:solidFill>
                  <a:srgbClr val="DC6E00"/>
                </a:solidFill>
              </a:rPr>
              <a:t>Struktura operacyjna</a:t>
            </a:r>
            <a:r>
              <a:rPr lang="pl-PL" altLang="en-US" dirty="0" smtClean="0"/>
              <a:t> </a:t>
            </a:r>
            <a:r>
              <a:rPr lang="pl-PL" altLang="en-US" dirty="0" smtClean="0">
                <a:solidFill>
                  <a:srgbClr val="0166B6"/>
                </a:solidFill>
              </a:rPr>
              <a:t>Programu "Od papierowej do cyfrowej Polski"</a:t>
            </a:r>
          </a:p>
        </p:txBody>
      </p:sp>
      <p:sp>
        <p:nvSpPr>
          <p:cNvPr id="28" name="Isosceles Triangle 27"/>
          <p:cNvSpPr/>
          <p:nvPr/>
        </p:nvSpPr>
        <p:spPr>
          <a:xfrm>
            <a:off x="409539" y="1556792"/>
            <a:ext cx="9049544" cy="1554692"/>
          </a:xfrm>
          <a:prstGeom prst="triangle">
            <a:avLst>
              <a:gd name="adj" fmla="val 50321"/>
            </a:avLst>
          </a:prstGeom>
          <a:gradFill flip="none" rotWithShape="1">
            <a:gsLst>
              <a:gs pos="0">
                <a:srgbClr val="D0D0D0"/>
              </a:gs>
              <a:gs pos="50000">
                <a:srgbClr val="EDEDED"/>
              </a:gs>
              <a:gs pos="85000">
                <a:srgbClr val="FFFFFF"/>
              </a:gs>
            </a:gsLst>
            <a:lin ang="5400000" scaled="1"/>
            <a:tileRect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97500" tIns="741000" bIns="99060"/>
          <a:lstStyle/>
          <a:p>
            <a:pPr marL="190892" lvl="2" indent="-190892">
              <a:buClr>
                <a:srgbClr val="E20074"/>
              </a:buClr>
              <a:buSzPct val="75000"/>
              <a:defRPr/>
            </a:pPr>
            <a:endParaRPr lang="pl-PL" sz="1733" b="1" kern="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9" name="Trapezoid 28"/>
          <p:cNvSpPr/>
          <p:nvPr/>
        </p:nvSpPr>
        <p:spPr>
          <a:xfrm>
            <a:off x="485219" y="2126235"/>
            <a:ext cx="9023747" cy="903460"/>
          </a:xfrm>
          <a:prstGeom prst="trapezoid">
            <a:avLst>
              <a:gd name="adj" fmla="val 337515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97500" tIns="97500" bIns="99060"/>
          <a:lstStyle/>
          <a:p>
            <a:pPr marL="184013" indent="-184013" defTabSz="1382670">
              <a:buClr>
                <a:srgbClr val="1174AE"/>
              </a:buClr>
              <a:buFont typeface="Arial" charset="0"/>
              <a:buChar char="•"/>
            </a:pPr>
            <a:endParaRPr lang="pl-PL" sz="1300" dirty="0">
              <a:solidFill>
                <a:srgbClr val="4D4D4D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30" name="Rectangle 5"/>
          <p:cNvSpPr>
            <a:spLocks noChangeArrowheads="1"/>
          </p:cNvSpPr>
          <p:nvPr/>
        </p:nvSpPr>
        <p:spPr bwMode="auto">
          <a:xfrm>
            <a:off x="428228" y="3035739"/>
            <a:ext cx="9049544" cy="4952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97500" tIns="97500" bIns="99060"/>
          <a:lstStyle/>
          <a:p>
            <a:pPr marL="184013" indent="-184013" defTabSz="1382670">
              <a:buClr>
                <a:srgbClr val="1174AE"/>
              </a:buClr>
              <a:buFont typeface="Arial" charset="0"/>
              <a:buChar char="•"/>
              <a:defRPr/>
            </a:pPr>
            <a:endParaRPr lang="pl-PL" altLang="pl-PL" sz="1300" dirty="0">
              <a:solidFill>
                <a:srgbClr val="4D4D4D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31" name="Trójkąt równoramienny 8"/>
          <p:cNvSpPr/>
          <p:nvPr/>
        </p:nvSpPr>
        <p:spPr>
          <a:xfrm>
            <a:off x="2722033" y="1587749"/>
            <a:ext cx="4446494" cy="708554"/>
          </a:xfrm>
          <a:prstGeom prst="triangle">
            <a:avLst/>
          </a:prstGeom>
          <a:solidFill>
            <a:srgbClr val="0166B6"/>
          </a:solidFill>
          <a:ln w="6350">
            <a:solidFill>
              <a:srgbClr val="0166B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9049" tIns="49526" rIns="99049" bIns="156000" anchor="ctr"/>
          <a:lstStyle/>
          <a:p>
            <a:pPr algn="ctr">
              <a:defRPr/>
            </a:pPr>
            <a:r>
              <a:rPr lang="pl-PL" sz="1950" b="1" dirty="0">
                <a:solidFill>
                  <a:srgbClr val="FFFFFF"/>
                </a:solidFill>
                <a:latin typeface="Calibri" pitchFamily="34" charset="0"/>
              </a:rPr>
              <a:t> </a:t>
            </a:r>
            <a:r>
              <a:rPr lang="pl-PL" sz="1517" b="1" dirty="0">
                <a:solidFill>
                  <a:srgbClr val="FFFFFF"/>
                </a:solidFill>
                <a:latin typeface="Calibri" pitchFamily="34" charset="0"/>
              </a:rPr>
              <a:t>Ministerstwo Cyfryzacji</a:t>
            </a:r>
          </a:p>
        </p:txBody>
      </p:sp>
      <p:sp>
        <p:nvSpPr>
          <p:cNvPr id="32" name="Rectangle 5"/>
          <p:cNvSpPr>
            <a:spLocks noChangeArrowheads="1"/>
          </p:cNvSpPr>
          <p:nvPr/>
        </p:nvSpPr>
        <p:spPr bwMode="auto">
          <a:xfrm>
            <a:off x="756969" y="3203707"/>
            <a:ext cx="1965064" cy="13174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  <a:effectLst/>
        </p:spPr>
        <p:txBody>
          <a:bodyPr lIns="39000" tIns="351000" rIns="39000" bIns="99060"/>
          <a:lstStyle/>
          <a:p>
            <a:pPr>
              <a:lnSpc>
                <a:spcPts val="1625"/>
              </a:lnSpc>
              <a:spcAft>
                <a:spcPts val="650"/>
              </a:spcAft>
              <a:buClr>
                <a:srgbClr val="1174AE"/>
              </a:buClr>
              <a:buSzPct val="100000"/>
              <a:defRPr/>
            </a:pPr>
            <a:r>
              <a:rPr lang="pl-PL" altLang="pl-PL" sz="1192" b="1" dirty="0">
                <a:latin typeface="Calibri" pitchFamily="34" charset="0"/>
              </a:rPr>
              <a:t>Nadzór nad pracami </a:t>
            </a:r>
            <a:r>
              <a:rPr lang="pl-PL" altLang="pl-PL" sz="1192" b="1" dirty="0" smtClean="0">
                <a:latin typeface="Calibri" pitchFamily="34" charset="0"/>
              </a:rPr>
              <a:t>strumieni:</a:t>
            </a:r>
            <a:endParaRPr lang="pl-PL" altLang="pl-PL" sz="1083" dirty="0">
              <a:latin typeface="Calibri" pitchFamily="34" charset="0"/>
            </a:endParaRPr>
          </a:p>
          <a:p>
            <a:pPr marL="139315" indent="-139315">
              <a:buClr>
                <a:srgbClr val="1174AE"/>
              </a:buClr>
              <a:buSzPct val="100000"/>
              <a:buFont typeface="Arial"/>
              <a:buChar char="•"/>
              <a:defRPr/>
            </a:pPr>
            <a:r>
              <a:rPr lang="pl-PL" altLang="pl-PL" sz="1083" dirty="0">
                <a:latin typeface="Calibri" pitchFamily="34" charset="0"/>
              </a:rPr>
              <a:t>Zwiększenie Obrotu </a:t>
            </a:r>
            <a:r>
              <a:rPr lang="pl-PL" altLang="pl-PL" sz="1083" dirty="0" smtClean="0">
                <a:latin typeface="Calibri" pitchFamily="34" charset="0"/>
              </a:rPr>
              <a:t>Bezgotówkowego</a:t>
            </a:r>
            <a:endParaRPr lang="pl-PL" altLang="pl-PL" sz="1083" dirty="0">
              <a:latin typeface="Calibri" pitchFamily="34" charset="0"/>
            </a:endParaRPr>
          </a:p>
          <a:p>
            <a:pPr marL="139315" indent="-139315">
              <a:buClr>
                <a:srgbClr val="1174AE"/>
              </a:buClr>
              <a:buSzPct val="100000"/>
              <a:buFont typeface="Arial"/>
              <a:buChar char="•"/>
              <a:defRPr/>
            </a:pPr>
            <a:r>
              <a:rPr lang="pl-PL" altLang="pl-PL" sz="1083" dirty="0">
                <a:latin typeface="Calibri" pitchFamily="34" charset="0"/>
              </a:rPr>
              <a:t>e-Faktura i e-Paragon</a:t>
            </a:r>
          </a:p>
        </p:txBody>
      </p:sp>
      <p:sp>
        <p:nvSpPr>
          <p:cNvPr id="33" name="Rectangle 5"/>
          <p:cNvSpPr>
            <a:spLocks noChangeArrowheads="1"/>
          </p:cNvSpPr>
          <p:nvPr/>
        </p:nvSpPr>
        <p:spPr bwMode="auto">
          <a:xfrm>
            <a:off x="633906" y="4580441"/>
            <a:ext cx="8576921" cy="23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  <a:effectLst/>
        </p:spPr>
        <p:txBody>
          <a:bodyPr lIns="97500" tIns="97500" bIns="99060" anchor="ctr"/>
          <a:lstStyle/>
          <a:p>
            <a:pPr algn="ctr" defTabSz="1382670">
              <a:buClr>
                <a:srgbClr val="1174AE"/>
              </a:buClr>
              <a:defRPr/>
            </a:pPr>
            <a:r>
              <a:rPr lang="pl-PL" altLang="pl-PL" sz="1192" b="1" dirty="0">
                <a:solidFill>
                  <a:srgbClr val="000000"/>
                </a:solidFill>
                <a:latin typeface="Calibri" pitchFamily="34" charset="0"/>
              </a:rPr>
              <a:t>Komunikacja</a:t>
            </a:r>
          </a:p>
        </p:txBody>
      </p:sp>
      <p:sp>
        <p:nvSpPr>
          <p:cNvPr id="34" name="Trójkąt równoramienny 8"/>
          <p:cNvSpPr/>
          <p:nvPr/>
        </p:nvSpPr>
        <p:spPr>
          <a:xfrm>
            <a:off x="756968" y="3199701"/>
            <a:ext cx="1965065" cy="312000"/>
          </a:xfrm>
          <a:prstGeom prst="rect">
            <a:avLst/>
          </a:prstGeom>
          <a:solidFill>
            <a:srgbClr val="0166B6"/>
          </a:solidFill>
          <a:ln w="6350">
            <a:solidFill>
              <a:srgbClr val="0166B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49" tIns="49526" rIns="99049" bIns="49526" anchor="ctr"/>
          <a:lstStyle/>
          <a:p>
            <a:pPr algn="ctr">
              <a:defRPr/>
            </a:pPr>
            <a:r>
              <a:rPr lang="pl-PL" sz="1517" b="1" dirty="0" err="1" smtClean="0">
                <a:solidFill>
                  <a:srgbClr val="FFFFFF"/>
                </a:solidFill>
                <a:latin typeface="Calibri" pitchFamily="34" charset="0"/>
              </a:rPr>
              <a:t>MPiT</a:t>
            </a:r>
            <a:endParaRPr lang="pl-PL" sz="1517" b="1" dirty="0">
              <a:solidFill>
                <a:srgbClr val="FFFFFF"/>
              </a:solidFill>
              <a:latin typeface="Calibri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992194" y="3194975"/>
            <a:ext cx="1968906" cy="1316150"/>
            <a:chOff x="4482740" y="2499742"/>
            <a:chExt cx="1817452" cy="1214908"/>
          </a:xfrm>
        </p:grpSpPr>
        <p:sp>
          <p:nvSpPr>
            <p:cNvPr id="25" name="Rectangle 5"/>
            <p:cNvSpPr>
              <a:spLocks noChangeArrowheads="1"/>
            </p:cNvSpPr>
            <p:nvPr/>
          </p:nvSpPr>
          <p:spPr bwMode="auto">
            <a:xfrm>
              <a:off x="4482740" y="2499742"/>
              <a:ext cx="1817452" cy="12149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accent1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lIns="39000" tIns="351000" rIns="39000" bIns="99060"/>
            <a:lstStyle/>
            <a:p>
              <a:pPr>
                <a:lnSpc>
                  <a:spcPts val="1517"/>
                </a:lnSpc>
                <a:spcAft>
                  <a:spcPts val="650"/>
                </a:spcAft>
                <a:buClr>
                  <a:srgbClr val="1174AE"/>
                </a:buClr>
                <a:buSzPct val="100000"/>
                <a:defRPr/>
              </a:pPr>
              <a:r>
                <a:rPr lang="pl-PL" altLang="pl-PL" sz="1192" b="1" dirty="0">
                  <a:solidFill>
                    <a:srgbClr val="000000"/>
                  </a:solidFill>
                  <a:latin typeface="Calibri" pitchFamily="34" charset="0"/>
                  <a:cs typeface="Arial" charset="0"/>
                </a:rPr>
                <a:t>Nadzór nad </a:t>
              </a:r>
              <a:r>
                <a:rPr lang="pl-PL" altLang="pl-PL" sz="1192" b="1" dirty="0">
                  <a:solidFill>
                    <a:srgbClr val="000000"/>
                  </a:solidFill>
                  <a:latin typeface="Calibri" pitchFamily="34" charset="0"/>
                </a:rPr>
                <a:t>pracami strumienia</a:t>
              </a:r>
              <a:r>
                <a:rPr lang="pl-PL" altLang="pl-PL" sz="1192" b="1" dirty="0">
                  <a:solidFill>
                    <a:srgbClr val="000000"/>
                  </a:solidFill>
                  <a:latin typeface="Calibri" pitchFamily="34" charset="0"/>
                  <a:cs typeface="Arial" charset="0"/>
                </a:rPr>
                <a:t>:</a:t>
              </a:r>
            </a:p>
            <a:p>
              <a:pPr marL="139315" indent="-139315">
                <a:spcAft>
                  <a:spcPts val="650"/>
                </a:spcAft>
                <a:buClr>
                  <a:srgbClr val="1174AE"/>
                </a:buClr>
                <a:buSzPct val="100000"/>
                <a:buFont typeface="Arial"/>
                <a:buChar char="•"/>
                <a:defRPr/>
              </a:pPr>
              <a:r>
                <a:rPr lang="pl-PL" altLang="pl-PL" sz="1083" dirty="0">
                  <a:solidFill>
                    <a:srgbClr val="000000"/>
                  </a:solidFill>
                  <a:latin typeface="Calibri" pitchFamily="34" charset="0"/>
                  <a:cs typeface="Arial" charset="0"/>
                </a:rPr>
                <a:t>e-Transport </a:t>
              </a:r>
              <a:br>
                <a:rPr lang="pl-PL" altLang="pl-PL" sz="1083" dirty="0">
                  <a:solidFill>
                    <a:srgbClr val="000000"/>
                  </a:solidFill>
                  <a:latin typeface="Calibri" pitchFamily="34" charset="0"/>
                  <a:cs typeface="Arial" charset="0"/>
                </a:rPr>
              </a:br>
              <a:r>
                <a:rPr lang="pl-PL" altLang="pl-PL" sz="1083" dirty="0">
                  <a:solidFill>
                    <a:srgbClr val="000000"/>
                  </a:solidFill>
                  <a:latin typeface="Calibri" pitchFamily="34" charset="0"/>
                  <a:cs typeface="Arial" charset="0"/>
                </a:rPr>
                <a:t>i e-Przepływy Towarów</a:t>
              </a:r>
            </a:p>
            <a:p>
              <a:pPr marL="139315" indent="-139315">
                <a:spcAft>
                  <a:spcPts val="650"/>
                </a:spcAft>
                <a:buClr>
                  <a:srgbClr val="1174AE"/>
                </a:buClr>
                <a:buSzPct val="100000"/>
                <a:buFont typeface="Arial"/>
                <a:buChar char="•"/>
                <a:defRPr/>
              </a:pPr>
              <a:endParaRPr lang="pl-PL" altLang="pl-PL" sz="1300" dirty="0">
                <a:solidFill>
                  <a:srgbClr val="000000"/>
                </a:solidFill>
                <a:latin typeface="Calibri" pitchFamily="34" charset="0"/>
                <a:cs typeface="Arial" charset="0"/>
              </a:endParaRPr>
            </a:p>
          </p:txBody>
        </p:sp>
        <p:sp>
          <p:nvSpPr>
            <p:cNvPr id="35" name="pole tekstowe 2"/>
            <p:cNvSpPr txBox="1">
              <a:spLocks noChangeArrowheads="1"/>
            </p:cNvSpPr>
            <p:nvPr/>
          </p:nvSpPr>
          <p:spPr bwMode="auto">
            <a:xfrm>
              <a:off x="4482740" y="2504105"/>
              <a:ext cx="1817452" cy="288000"/>
            </a:xfrm>
            <a:prstGeom prst="rect">
              <a:avLst/>
            </a:prstGeom>
            <a:solidFill>
              <a:srgbClr val="0166B6"/>
            </a:solidFill>
            <a:ln w="9525">
              <a:solidFill>
                <a:srgbClr val="0166B6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pl-PL" altLang="pl-PL" sz="1517" b="1" dirty="0" smtClean="0">
                  <a:solidFill>
                    <a:srgbClr val="FFFFFF"/>
                  </a:solidFill>
                  <a:latin typeface="Calibri" panose="020F0502020204030204" pitchFamily="34" charset="0"/>
                  <a:sym typeface="Arial" panose="020B0604020202020204" pitchFamily="34" charset="0"/>
                </a:rPr>
                <a:t>MI</a:t>
              </a:r>
              <a:endParaRPr lang="pl-PL" altLang="pl-PL" sz="1517" b="1" dirty="0">
                <a:solidFill>
                  <a:srgbClr val="FFFFFF"/>
                </a:solidFill>
                <a:latin typeface="Calibri" panose="020F050202020403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37" name="Freeform 84"/>
          <p:cNvSpPr>
            <a:spLocks/>
          </p:cNvSpPr>
          <p:nvPr/>
        </p:nvSpPr>
        <p:spPr bwMode="gray">
          <a:xfrm>
            <a:off x="428229" y="1577430"/>
            <a:ext cx="9049544" cy="1442905"/>
          </a:xfrm>
          <a:custGeom>
            <a:avLst/>
            <a:gdLst>
              <a:gd name="T0" fmla="*/ 0 w 632"/>
              <a:gd name="T1" fmla="*/ 515 h 140"/>
              <a:gd name="T2" fmla="*/ 11501 w 632"/>
              <a:gd name="T3" fmla="*/ 0 h 140"/>
              <a:gd name="T4" fmla="*/ 22780 w 632"/>
              <a:gd name="T5" fmla="*/ 515 h 140"/>
              <a:gd name="T6" fmla="*/ 0 60000 65536"/>
              <a:gd name="T7" fmla="*/ 0 60000 65536"/>
              <a:gd name="T8" fmla="*/ 0 60000 65536"/>
              <a:gd name="T9" fmla="*/ 0 w 632"/>
              <a:gd name="T10" fmla="*/ 0 h 140"/>
              <a:gd name="T11" fmla="*/ 632 w 632"/>
              <a:gd name="T12" fmla="*/ 140 h 14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32" h="140">
                <a:moveTo>
                  <a:pt x="0" y="140"/>
                </a:moveTo>
                <a:lnTo>
                  <a:pt x="319" y="0"/>
                </a:lnTo>
                <a:lnTo>
                  <a:pt x="632" y="140"/>
                </a:lnTo>
              </a:path>
            </a:pathLst>
          </a:custGeom>
          <a:noFill/>
          <a:ln w="28575" cap="flat" cmpd="sng">
            <a:solidFill>
              <a:srgbClr val="0166B6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99060" bIns="99060" anchor="ctr"/>
          <a:lstStyle/>
          <a:p>
            <a:pPr>
              <a:defRPr/>
            </a:pPr>
            <a:endParaRPr lang="pl-PL" sz="1950" dirty="0">
              <a:solidFill>
                <a:srgbClr val="000000"/>
              </a:solidFill>
              <a:latin typeface="Calibri" panose="020F0502020204030204" pitchFamily="34" charset="0"/>
              <a:cs typeface="Arial" charset="0"/>
              <a:sym typeface="Calibri" panose="020F0502020204030204" pitchFamily="34" charset="0"/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633906" y="5535234"/>
            <a:ext cx="8596515" cy="2730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DC6E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anchor="ctr"/>
          <a:lstStyle/>
          <a:p>
            <a:pPr algn="ctr">
              <a:defRPr/>
            </a:pPr>
            <a:r>
              <a:rPr lang="pl-PL" sz="1192" b="1" dirty="0">
                <a:solidFill>
                  <a:srgbClr val="0166B6"/>
                </a:solidFill>
                <a:latin typeface="Calibri" panose="020F0502020204030204" pitchFamily="34" charset="0"/>
                <a:cs typeface="Arial" pitchFamily="34" charset="0"/>
              </a:rPr>
              <a:t>Program "Od papierowej do cyfrowej Polski" formalnie działa jako zespół zadaniowy Komitetu Rady Ministrów do spraw Cyfryzacji</a:t>
            </a:r>
          </a:p>
        </p:txBody>
      </p:sp>
      <p:sp>
        <p:nvSpPr>
          <p:cNvPr id="39" name="Rectangle 5"/>
          <p:cNvSpPr>
            <a:spLocks noChangeArrowheads="1"/>
          </p:cNvSpPr>
          <p:nvPr/>
        </p:nvSpPr>
        <p:spPr bwMode="auto">
          <a:xfrm>
            <a:off x="635625" y="4883131"/>
            <a:ext cx="8576921" cy="312000"/>
          </a:xfrm>
          <a:prstGeom prst="rect">
            <a:avLst/>
          </a:prstGeom>
          <a:solidFill>
            <a:srgbClr val="0166B6"/>
          </a:solidFill>
          <a:ln w="6350">
            <a:solidFill>
              <a:srgbClr val="0166B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49" tIns="49526" rIns="99049" bIns="49526" anchor="ctr"/>
          <a:lstStyle/>
          <a:p>
            <a:pPr algn="ctr">
              <a:defRPr/>
            </a:pPr>
            <a:r>
              <a:rPr lang="pl-PL" altLang="pl-PL" sz="1517" b="1" dirty="0">
                <a:solidFill>
                  <a:srgbClr val="FFFFFF"/>
                </a:solidFill>
                <a:latin typeface="Calibri" pitchFamily="34" charset="0"/>
              </a:rPr>
              <a:t>Szeroki udział ekspertów rynkowych</a:t>
            </a:r>
          </a:p>
        </p:txBody>
      </p:sp>
      <p:sp>
        <p:nvSpPr>
          <p:cNvPr id="41" name="Text Box 18"/>
          <p:cNvSpPr txBox="1">
            <a:spLocks noChangeArrowheads="1"/>
          </p:cNvSpPr>
          <p:nvPr/>
        </p:nvSpPr>
        <p:spPr bwMode="auto">
          <a:xfrm>
            <a:off x="2534731" y="2336879"/>
            <a:ext cx="4803034" cy="179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84013" indent="-184013" algn="ctr" defTabSz="1382670">
              <a:lnSpc>
                <a:spcPts val="1362"/>
              </a:lnSpc>
              <a:spcAft>
                <a:spcPts val="650"/>
              </a:spcAft>
              <a:buClr>
                <a:srgbClr val="1174AE"/>
              </a:buClr>
              <a:buSzPct val="100000"/>
              <a:defRPr/>
            </a:pPr>
            <a:r>
              <a:rPr lang="pl-PL" altLang="pl-PL" sz="1192" b="1" dirty="0">
                <a:solidFill>
                  <a:srgbClr val="000000"/>
                </a:solidFill>
                <a:latin typeface="Calibri" pitchFamily="34" charset="0"/>
              </a:rPr>
              <a:t>Koordynacja i nadzór nad </a:t>
            </a:r>
            <a:r>
              <a:rPr lang="pl-PL" altLang="pl-PL" sz="1192" b="1" dirty="0" smtClean="0">
                <a:solidFill>
                  <a:srgbClr val="000000"/>
                </a:solidFill>
                <a:latin typeface="Calibri" pitchFamily="34" charset="0"/>
              </a:rPr>
              <a:t>Programem oraz </a:t>
            </a:r>
            <a:r>
              <a:rPr lang="pl-PL" altLang="pl-PL" sz="1192" b="1" dirty="0">
                <a:solidFill>
                  <a:srgbClr val="000000"/>
                </a:solidFill>
                <a:latin typeface="Calibri" pitchFamily="34" charset="0"/>
              </a:rPr>
              <a:t>nadzór nad pracami strumieni:</a:t>
            </a:r>
            <a:endParaRPr lang="pl-PL" altLang="pl-PL" sz="1192" b="1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701316" y="2552122"/>
            <a:ext cx="4487930" cy="542380"/>
            <a:chOff x="2999256" y="1933972"/>
            <a:chExt cx="4142705" cy="500658"/>
          </a:xfrm>
        </p:grpSpPr>
        <p:sp>
          <p:nvSpPr>
            <p:cNvPr id="40" name="Rectangle 26"/>
            <p:cNvSpPr>
              <a:spLocks noChangeArrowheads="1"/>
            </p:cNvSpPr>
            <p:nvPr/>
          </p:nvSpPr>
          <p:spPr bwMode="auto">
            <a:xfrm>
              <a:off x="4981374" y="2156817"/>
              <a:ext cx="2160587" cy="277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169863" indent="-169863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1174AE"/>
                </a:buClr>
                <a:buFont typeface="Arial" panose="020B0604020202020204" pitchFamily="34" charset="0"/>
                <a:buChar char="•"/>
              </a:pPr>
              <a:r>
                <a:rPr lang="pl-PL" altLang="pl-PL" sz="1083" dirty="0">
                  <a:latin typeface="Calibri" panose="020F0502020204030204" pitchFamily="34" charset="0"/>
                </a:rPr>
                <a:t>Sztuczna inteligencja</a:t>
              </a:r>
            </a:p>
            <a:p>
              <a:pPr>
                <a:buClr>
                  <a:srgbClr val="1174AE"/>
                </a:buClr>
                <a:buFont typeface="Arial" panose="020B0604020202020204" pitchFamily="34" charset="0"/>
                <a:buChar char="•"/>
              </a:pPr>
              <a:endParaRPr lang="pl-PL" altLang="pl-PL" sz="1083" dirty="0">
                <a:latin typeface="Calibri" panose="020F0502020204030204" pitchFamily="34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2999256" y="2156817"/>
              <a:ext cx="2611438" cy="277812"/>
            </a:xfrm>
            <a:prstGeom prst="rect">
              <a:avLst/>
            </a:prstGeom>
          </p:spPr>
          <p:txBody>
            <a:bodyPr/>
            <a:lstStyle/>
            <a:p>
              <a:pPr marL="184013" indent="-184013" defTabSz="1382670">
                <a:buClr>
                  <a:srgbClr val="1174AE"/>
                </a:buClr>
                <a:buFont typeface="Arial" charset="0"/>
                <a:buChar char="•"/>
                <a:defRPr/>
              </a:pPr>
              <a:r>
                <a:rPr lang="pl-PL" altLang="pl-PL" sz="1083" dirty="0">
                  <a:latin typeface="Calibri" pitchFamily="34" charset="0"/>
                  <a:cs typeface="Arial" charset="0"/>
                </a:rPr>
                <a:t>Internet rzeczy</a:t>
              </a:r>
            </a:p>
          </p:txBody>
        </p:sp>
        <p:sp>
          <p:nvSpPr>
            <p:cNvPr id="43" name="Rectangle 26"/>
            <p:cNvSpPr>
              <a:spLocks noChangeArrowheads="1"/>
            </p:cNvSpPr>
            <p:nvPr/>
          </p:nvSpPr>
          <p:spPr bwMode="auto">
            <a:xfrm>
              <a:off x="2999256" y="1933972"/>
              <a:ext cx="1838102" cy="253677"/>
            </a:xfrm>
            <a:prstGeom prst="rect">
              <a:avLst/>
            </a:prstGeom>
            <a:extLst/>
          </p:spPr>
          <p:txBody>
            <a:bodyPr/>
            <a:lstStyle/>
            <a:p>
              <a:pPr marL="184013" indent="-184013" defTabSz="1382670">
                <a:buClr>
                  <a:srgbClr val="1174AE"/>
                </a:buClr>
                <a:buFont typeface="Arial" charset="0"/>
                <a:buChar char="•"/>
                <a:defRPr/>
              </a:pPr>
              <a:r>
                <a:rPr lang="pl-PL" altLang="pl-PL" sz="1083" dirty="0">
                  <a:latin typeface="Calibri" pitchFamily="34" charset="0"/>
                </a:rPr>
                <a:t>Cyfrowe Usługi Publiczne</a:t>
              </a:r>
            </a:p>
            <a:p>
              <a:pPr defTabSz="1382670">
                <a:buClr>
                  <a:srgbClr val="1174AE"/>
                </a:buClr>
                <a:defRPr/>
              </a:pPr>
              <a:endParaRPr lang="pl-PL" altLang="pl-PL" sz="1083" dirty="0">
                <a:latin typeface="Calibri" pitchFamily="34" charset="0"/>
              </a:endParaRPr>
            </a:p>
          </p:txBody>
        </p:sp>
        <p:sp>
          <p:nvSpPr>
            <p:cNvPr id="44" name="Rectangle 27"/>
            <p:cNvSpPr>
              <a:spLocks noChangeArrowheads="1"/>
            </p:cNvSpPr>
            <p:nvPr/>
          </p:nvSpPr>
          <p:spPr bwMode="auto">
            <a:xfrm>
              <a:off x="4981374" y="1933972"/>
              <a:ext cx="2160240" cy="277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169863" indent="-169863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1174AE"/>
                </a:buClr>
                <a:buFont typeface="Arial" panose="020B0604020202020204" pitchFamily="34" charset="0"/>
                <a:buChar char="•"/>
              </a:pPr>
              <a:r>
                <a:rPr lang="pl-PL" altLang="pl-PL" sz="1083" dirty="0">
                  <a:solidFill>
                    <a:srgbClr val="000000"/>
                  </a:solidFill>
                  <a:latin typeface="Calibri" panose="020F0502020204030204" pitchFamily="34" charset="0"/>
                </a:rPr>
                <a:t>Rejestry Rozproszone</a:t>
              </a:r>
            </a:p>
          </p:txBody>
        </p:sp>
      </p:grpSp>
      <p:sp>
        <p:nvSpPr>
          <p:cNvPr id="47" name="Rectangle 46"/>
          <p:cNvSpPr/>
          <p:nvPr/>
        </p:nvSpPr>
        <p:spPr>
          <a:xfrm>
            <a:off x="6709956" y="2813181"/>
            <a:ext cx="2065469" cy="299244"/>
          </a:xfrm>
          <a:prstGeom prst="rect">
            <a:avLst/>
          </a:prstGeom>
        </p:spPr>
        <p:txBody>
          <a:bodyPr/>
          <a:lstStyle/>
          <a:p>
            <a:pPr defTabSz="1382670">
              <a:buClr>
                <a:srgbClr val="1174AE"/>
              </a:buClr>
              <a:defRPr/>
            </a:pPr>
            <a:endParaRPr lang="pl-PL" altLang="pl-PL" sz="1083" i="1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Arial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7196546" y="3204525"/>
            <a:ext cx="1968922" cy="1316150"/>
            <a:chOff x="6386079" y="2508558"/>
            <a:chExt cx="1817466" cy="1214908"/>
          </a:xfrm>
        </p:grpSpPr>
        <p:sp>
          <p:nvSpPr>
            <p:cNvPr id="51" name="Rectangle 5"/>
            <p:cNvSpPr>
              <a:spLocks noChangeArrowheads="1"/>
            </p:cNvSpPr>
            <p:nvPr/>
          </p:nvSpPr>
          <p:spPr bwMode="auto">
            <a:xfrm>
              <a:off x="6386093" y="2508558"/>
              <a:ext cx="1817452" cy="12149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accent1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lIns="39000" tIns="351000" rIns="39000" bIns="99060"/>
            <a:lstStyle/>
            <a:p>
              <a:pPr>
                <a:lnSpc>
                  <a:spcPts val="1517"/>
                </a:lnSpc>
                <a:spcAft>
                  <a:spcPts val="650"/>
                </a:spcAft>
                <a:buClr>
                  <a:srgbClr val="1174AE"/>
                </a:buClr>
                <a:buSzPct val="100000"/>
                <a:defRPr/>
              </a:pPr>
              <a:r>
                <a:rPr lang="pl-PL" altLang="pl-PL" sz="1192" b="1" dirty="0">
                  <a:latin typeface="Calibri" pitchFamily="34" charset="0"/>
                </a:rPr>
                <a:t>Nadzór nad pracami strumienia:</a:t>
              </a:r>
            </a:p>
            <a:p>
              <a:pPr marL="139315" indent="-139315">
                <a:spcAft>
                  <a:spcPts val="650"/>
                </a:spcAft>
                <a:buClr>
                  <a:srgbClr val="1174AE"/>
                </a:buClr>
                <a:buSzPct val="100000"/>
                <a:buFont typeface="Arial"/>
                <a:buChar char="•"/>
                <a:defRPr/>
              </a:pPr>
              <a:r>
                <a:rPr lang="pl-PL" altLang="pl-PL" sz="1083" dirty="0">
                  <a:latin typeface="Calibri" pitchFamily="34" charset="0"/>
                </a:rPr>
                <a:t>e-Edukacja</a:t>
              </a:r>
            </a:p>
          </p:txBody>
        </p:sp>
        <p:sp>
          <p:nvSpPr>
            <p:cNvPr id="52" name="pole tekstowe 2"/>
            <p:cNvSpPr txBox="1">
              <a:spLocks noChangeArrowheads="1"/>
            </p:cNvSpPr>
            <p:nvPr/>
          </p:nvSpPr>
          <p:spPr bwMode="auto">
            <a:xfrm>
              <a:off x="6386079" y="2512921"/>
              <a:ext cx="1817452" cy="288000"/>
            </a:xfrm>
            <a:prstGeom prst="rect">
              <a:avLst/>
            </a:prstGeom>
            <a:solidFill>
              <a:srgbClr val="0166B6"/>
            </a:solidFill>
            <a:ln w="9525">
              <a:solidFill>
                <a:srgbClr val="0166B6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pl-PL" altLang="pl-PL" sz="1517" b="1" dirty="0">
                  <a:solidFill>
                    <a:srgbClr val="FFFFFF"/>
                  </a:solidFill>
                  <a:latin typeface="Calibri" panose="020F0502020204030204" pitchFamily="34" charset="0"/>
                  <a:sym typeface="Arial" panose="020B0604020202020204" pitchFamily="34" charset="0"/>
                </a:rPr>
                <a:t>MEN</a:t>
              </a:r>
            </a:p>
          </p:txBody>
        </p:sp>
      </p:grpSp>
      <p:sp>
        <p:nvSpPr>
          <p:cNvPr id="27" name="Freeform 85"/>
          <p:cNvSpPr>
            <a:spLocks/>
          </p:cNvSpPr>
          <p:nvPr/>
        </p:nvSpPr>
        <p:spPr bwMode="gray">
          <a:xfrm>
            <a:off x="633906" y="3078639"/>
            <a:ext cx="8596515" cy="2222569"/>
          </a:xfrm>
          <a:custGeom>
            <a:avLst/>
            <a:gdLst>
              <a:gd name="T0" fmla="*/ 0 w 694"/>
              <a:gd name="T1" fmla="*/ 0 h 230"/>
              <a:gd name="T2" fmla="*/ 0 w 694"/>
              <a:gd name="T3" fmla="*/ 230 h 230"/>
              <a:gd name="T4" fmla="*/ 694 w 694"/>
              <a:gd name="T5" fmla="*/ 230 h 230"/>
              <a:gd name="T6" fmla="*/ 694 w 694"/>
              <a:gd name="T7" fmla="*/ 0 h 230"/>
              <a:gd name="T8" fmla="*/ 0 60000 65536"/>
              <a:gd name="T9" fmla="*/ 0 60000 65536"/>
              <a:gd name="T10" fmla="*/ 0 60000 65536"/>
              <a:gd name="T11" fmla="*/ 0 60000 65536"/>
              <a:gd name="T12" fmla="*/ 0 w 694"/>
              <a:gd name="T13" fmla="*/ 0 h 230"/>
              <a:gd name="T14" fmla="*/ 694 w 694"/>
              <a:gd name="T15" fmla="*/ 230 h 23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94" h="230">
                <a:moveTo>
                  <a:pt x="0" y="0"/>
                </a:moveTo>
                <a:lnTo>
                  <a:pt x="0" y="230"/>
                </a:lnTo>
                <a:lnTo>
                  <a:pt x="694" y="230"/>
                </a:lnTo>
                <a:lnTo>
                  <a:pt x="694" y="0"/>
                </a:lnTo>
              </a:path>
            </a:pathLst>
          </a:custGeom>
          <a:noFill/>
          <a:ln w="28575" cap="flat" cmpd="sng">
            <a:solidFill>
              <a:srgbClr val="0166B6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99060" bIns="99060" anchor="ctr"/>
          <a:lstStyle/>
          <a:p>
            <a:pPr>
              <a:defRPr/>
            </a:pPr>
            <a:endParaRPr lang="pl-PL" sz="1950" dirty="0">
              <a:solidFill>
                <a:srgbClr val="000000"/>
              </a:solidFill>
              <a:latin typeface="Calibri" panose="020F0502020204030204" pitchFamily="34" charset="0"/>
              <a:cs typeface="Arial" charset="0"/>
              <a:sym typeface="Calibri" panose="020F0502020204030204" pitchFamily="34" charset="0"/>
            </a:endParaRPr>
          </a:p>
        </p:txBody>
      </p:sp>
      <p:sp>
        <p:nvSpPr>
          <p:cNvPr id="36" name="Rectangle 5"/>
          <p:cNvSpPr>
            <a:spLocks noChangeArrowheads="1"/>
          </p:cNvSpPr>
          <p:nvPr/>
        </p:nvSpPr>
        <p:spPr bwMode="auto">
          <a:xfrm>
            <a:off x="2864768" y="3179703"/>
            <a:ext cx="1965064" cy="13174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  <a:effectLst/>
        </p:spPr>
        <p:txBody>
          <a:bodyPr lIns="39000" tIns="351000" rIns="39000" bIns="99060"/>
          <a:lstStyle/>
          <a:p>
            <a:pPr>
              <a:lnSpc>
                <a:spcPts val="1625"/>
              </a:lnSpc>
              <a:spcAft>
                <a:spcPts val="650"/>
              </a:spcAft>
              <a:buClr>
                <a:srgbClr val="1174AE"/>
              </a:buClr>
              <a:buSzPct val="100000"/>
              <a:defRPr/>
            </a:pPr>
            <a:r>
              <a:rPr lang="pl-PL" altLang="pl-PL" sz="1192" b="1" dirty="0">
                <a:latin typeface="Calibri" pitchFamily="34" charset="0"/>
              </a:rPr>
              <a:t>Nadzór nad pracami </a:t>
            </a:r>
            <a:r>
              <a:rPr lang="pl-PL" altLang="pl-PL" sz="1192" b="1" dirty="0" smtClean="0">
                <a:latin typeface="Calibri" pitchFamily="34" charset="0"/>
              </a:rPr>
              <a:t>strumienia:</a:t>
            </a:r>
            <a:endParaRPr lang="pl-PL" altLang="pl-PL" sz="1192" b="1" dirty="0">
              <a:latin typeface="Calibri" pitchFamily="34" charset="0"/>
            </a:endParaRPr>
          </a:p>
          <a:p>
            <a:pPr marL="139315" indent="-139315">
              <a:spcAft>
                <a:spcPts val="542"/>
              </a:spcAft>
              <a:buClr>
                <a:srgbClr val="1174AE"/>
              </a:buClr>
              <a:buSzPct val="100000"/>
              <a:buFont typeface="Arial"/>
              <a:buChar char="•"/>
              <a:defRPr/>
            </a:pPr>
            <a:r>
              <a:rPr lang="pl-PL" altLang="pl-PL" sz="1083" dirty="0" smtClean="0">
                <a:latin typeface="Calibri" pitchFamily="34" charset="0"/>
              </a:rPr>
              <a:t>e-Sprawozdawczość</a:t>
            </a:r>
            <a:endParaRPr lang="pl-PL" altLang="pl-PL" sz="1083" dirty="0">
              <a:latin typeface="Calibri" pitchFamily="34" charset="0"/>
            </a:endParaRPr>
          </a:p>
        </p:txBody>
      </p:sp>
      <p:sp>
        <p:nvSpPr>
          <p:cNvPr id="45" name="Trójkąt równoramienny 8"/>
          <p:cNvSpPr/>
          <p:nvPr/>
        </p:nvSpPr>
        <p:spPr>
          <a:xfrm>
            <a:off x="2864768" y="3177007"/>
            <a:ext cx="1965065" cy="312000"/>
          </a:xfrm>
          <a:prstGeom prst="rect">
            <a:avLst/>
          </a:prstGeom>
          <a:solidFill>
            <a:srgbClr val="0166B6"/>
          </a:solidFill>
          <a:ln w="6350">
            <a:solidFill>
              <a:srgbClr val="0166B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49" tIns="49526" rIns="99049" bIns="49526" anchor="ctr"/>
          <a:lstStyle/>
          <a:p>
            <a:pPr algn="ctr">
              <a:defRPr/>
            </a:pPr>
            <a:r>
              <a:rPr lang="pl-PL" sz="1517" b="1" dirty="0" smtClean="0">
                <a:solidFill>
                  <a:srgbClr val="FFFFFF"/>
                </a:solidFill>
                <a:latin typeface="Calibri" pitchFamily="34" charset="0"/>
              </a:rPr>
              <a:t>MF</a:t>
            </a:r>
            <a:endParaRPr lang="pl-PL" sz="1517" b="1" dirty="0">
              <a:solidFill>
                <a:srgbClr val="FFFFF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05367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0765640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69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642938"/>
            <a:ext cx="171979" cy="171979"/>
          </a:xfrm>
          <a:prstGeom prst="rect">
            <a:avLst/>
          </a:prstGeom>
          <a:solidFill>
            <a:srgbClr val="FFFC71">
              <a:alpha val="80000"/>
            </a:srgb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3" name="Rectangle 172"/>
          <p:cNvSpPr/>
          <p:nvPr/>
        </p:nvSpPr>
        <p:spPr>
          <a:xfrm>
            <a:off x="952451" y="1790818"/>
            <a:ext cx="8544168" cy="234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rgbClr val="0166B6">
                  <a:alpha val="15000"/>
                </a:srgbClr>
              </a:gs>
            </a:gsLst>
            <a:lin ang="10800000" scaled="0"/>
          </a:gradFill>
          <a:ln w="19050">
            <a:noFill/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dirty="0">
                <a:latin typeface="Calibri" panose="020F0502020204030204" pitchFamily="34" charset="0"/>
              </a:rPr>
              <a:t>Cyfrowe Usługi Publiczne </a:t>
            </a:r>
            <a:endParaRPr lang="en-US" sz="1083" b="1" dirty="0">
              <a:latin typeface="Calibri" panose="020F0502020204030204" pitchFamily="34" charset="0"/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531484" y="1790819"/>
            <a:ext cx="433728" cy="242823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pl-PL" sz="1517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pSp>
        <p:nvGrpSpPr>
          <p:cNvPr id="175" name="Group 31"/>
          <p:cNvGrpSpPr>
            <a:grpSpLocks/>
          </p:cNvGrpSpPr>
          <p:nvPr/>
        </p:nvGrpSpPr>
        <p:grpSpPr bwMode="auto">
          <a:xfrm>
            <a:off x="650495" y="1816329"/>
            <a:ext cx="218082" cy="193850"/>
            <a:chOff x="1019177" y="1648406"/>
            <a:chExt cx="869682" cy="740783"/>
          </a:xfrm>
        </p:grpSpPr>
        <p:grpSp>
          <p:nvGrpSpPr>
            <p:cNvPr id="176" name="Group 16"/>
            <p:cNvGrpSpPr>
              <a:grpSpLocks noChangeAspect="1"/>
            </p:cNvGrpSpPr>
            <p:nvPr/>
          </p:nvGrpSpPr>
          <p:grpSpPr bwMode="auto">
            <a:xfrm>
              <a:off x="1019177" y="1648406"/>
              <a:ext cx="771027" cy="740783"/>
              <a:chOff x="1055" y="1007"/>
              <a:chExt cx="267" cy="257"/>
            </a:xfrm>
          </p:grpSpPr>
          <p:sp>
            <p:nvSpPr>
              <p:cNvPr id="178" name="Freeform 18"/>
              <p:cNvSpPr>
                <a:spLocks/>
              </p:cNvSpPr>
              <p:nvPr/>
            </p:nvSpPr>
            <p:spPr bwMode="auto">
              <a:xfrm>
                <a:off x="1131" y="1007"/>
                <a:ext cx="97" cy="68"/>
              </a:xfrm>
              <a:custGeom>
                <a:avLst/>
                <a:gdLst>
                  <a:gd name="T0" fmla="*/ 0 w 1075"/>
                  <a:gd name="T1" fmla="*/ 0 h 748"/>
                  <a:gd name="T2" fmla="*/ 0 w 1075"/>
                  <a:gd name="T3" fmla="*/ 0 h 748"/>
                  <a:gd name="T4" fmla="*/ 0 w 1075"/>
                  <a:gd name="T5" fmla="*/ 0 h 748"/>
                  <a:gd name="T6" fmla="*/ 0 w 1075"/>
                  <a:gd name="T7" fmla="*/ 0 h 748"/>
                  <a:gd name="T8" fmla="*/ 0 w 1075"/>
                  <a:gd name="T9" fmla="*/ 0 h 748"/>
                  <a:gd name="T10" fmla="*/ 0 w 1075"/>
                  <a:gd name="T11" fmla="*/ 0 h 748"/>
                  <a:gd name="T12" fmla="*/ 0 w 1075"/>
                  <a:gd name="T13" fmla="*/ 0 h 748"/>
                  <a:gd name="T14" fmla="*/ 0 w 1075"/>
                  <a:gd name="T15" fmla="*/ 0 h 748"/>
                  <a:gd name="T16" fmla="*/ 0 w 1075"/>
                  <a:gd name="T17" fmla="*/ 0 h 748"/>
                  <a:gd name="T18" fmla="*/ 0 w 1075"/>
                  <a:gd name="T19" fmla="*/ 0 h 748"/>
                  <a:gd name="T20" fmla="*/ 0 w 1075"/>
                  <a:gd name="T21" fmla="*/ 0 h 748"/>
                  <a:gd name="T22" fmla="*/ 0 w 1075"/>
                  <a:gd name="T23" fmla="*/ 0 h 748"/>
                  <a:gd name="T24" fmla="*/ 0 w 1075"/>
                  <a:gd name="T25" fmla="*/ 0 h 748"/>
                  <a:gd name="T26" fmla="*/ 0 w 1075"/>
                  <a:gd name="T27" fmla="*/ 0 h 748"/>
                  <a:gd name="T28" fmla="*/ 0 w 1075"/>
                  <a:gd name="T29" fmla="*/ 0 h 748"/>
                  <a:gd name="T30" fmla="*/ 0 w 1075"/>
                  <a:gd name="T31" fmla="*/ 0 h 748"/>
                  <a:gd name="T32" fmla="*/ 0 w 1075"/>
                  <a:gd name="T33" fmla="*/ 0 h 748"/>
                  <a:gd name="T34" fmla="*/ 0 w 1075"/>
                  <a:gd name="T35" fmla="*/ 0 h 748"/>
                  <a:gd name="T36" fmla="*/ 0 w 1075"/>
                  <a:gd name="T37" fmla="*/ 0 h 748"/>
                  <a:gd name="T38" fmla="*/ 0 w 1075"/>
                  <a:gd name="T39" fmla="*/ 0 h 748"/>
                  <a:gd name="T40" fmla="*/ 0 w 1075"/>
                  <a:gd name="T41" fmla="*/ 0 h 748"/>
                  <a:gd name="T42" fmla="*/ 0 w 1075"/>
                  <a:gd name="T43" fmla="*/ 0 h 748"/>
                  <a:gd name="T44" fmla="*/ 0 w 1075"/>
                  <a:gd name="T45" fmla="*/ 0 h 748"/>
                  <a:gd name="T46" fmla="*/ 0 w 1075"/>
                  <a:gd name="T47" fmla="*/ 0 h 748"/>
                  <a:gd name="T48" fmla="*/ 0 w 1075"/>
                  <a:gd name="T49" fmla="*/ 0 h 748"/>
                  <a:gd name="T50" fmla="*/ 0 w 1075"/>
                  <a:gd name="T51" fmla="*/ 0 h 748"/>
                  <a:gd name="T52" fmla="*/ 0 w 1075"/>
                  <a:gd name="T53" fmla="*/ 0 h 748"/>
                  <a:gd name="T54" fmla="*/ 0 w 1075"/>
                  <a:gd name="T55" fmla="*/ 0 h 748"/>
                  <a:gd name="T56" fmla="*/ 0 w 1075"/>
                  <a:gd name="T57" fmla="*/ 0 h 748"/>
                  <a:gd name="T58" fmla="*/ 0 w 1075"/>
                  <a:gd name="T59" fmla="*/ 0 h 748"/>
                  <a:gd name="T60" fmla="*/ 0 w 1075"/>
                  <a:gd name="T61" fmla="*/ 0 h 748"/>
                  <a:gd name="T62" fmla="*/ 0 w 1075"/>
                  <a:gd name="T63" fmla="*/ 0 h 748"/>
                  <a:gd name="T64" fmla="*/ 0 w 1075"/>
                  <a:gd name="T65" fmla="*/ 0 h 748"/>
                  <a:gd name="T66" fmla="*/ 0 w 1075"/>
                  <a:gd name="T67" fmla="*/ 0 h 748"/>
                  <a:gd name="T68" fmla="*/ 0 w 1075"/>
                  <a:gd name="T69" fmla="*/ 0 h 748"/>
                  <a:gd name="T70" fmla="*/ 0 w 1075"/>
                  <a:gd name="T71" fmla="*/ 0 h 74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5"/>
                  <a:gd name="T109" fmla="*/ 0 h 748"/>
                  <a:gd name="T110" fmla="*/ 1075 w 1075"/>
                  <a:gd name="T111" fmla="*/ 748 h 74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5" h="748">
                    <a:moveTo>
                      <a:pt x="902" y="0"/>
                    </a:moveTo>
                    <a:lnTo>
                      <a:pt x="916" y="4"/>
                    </a:lnTo>
                    <a:lnTo>
                      <a:pt x="928" y="12"/>
                    </a:lnTo>
                    <a:lnTo>
                      <a:pt x="936" y="23"/>
                    </a:lnTo>
                    <a:lnTo>
                      <a:pt x="1071" y="303"/>
                    </a:lnTo>
                    <a:lnTo>
                      <a:pt x="1075" y="317"/>
                    </a:lnTo>
                    <a:lnTo>
                      <a:pt x="1074" y="332"/>
                    </a:lnTo>
                    <a:lnTo>
                      <a:pt x="1068" y="344"/>
                    </a:lnTo>
                    <a:lnTo>
                      <a:pt x="1063" y="350"/>
                    </a:lnTo>
                    <a:lnTo>
                      <a:pt x="1059" y="354"/>
                    </a:lnTo>
                    <a:lnTo>
                      <a:pt x="1045" y="361"/>
                    </a:lnTo>
                    <a:lnTo>
                      <a:pt x="1031" y="363"/>
                    </a:lnTo>
                    <a:lnTo>
                      <a:pt x="721" y="339"/>
                    </a:lnTo>
                    <a:lnTo>
                      <a:pt x="707" y="336"/>
                    </a:lnTo>
                    <a:lnTo>
                      <a:pt x="695" y="328"/>
                    </a:lnTo>
                    <a:lnTo>
                      <a:pt x="686" y="316"/>
                    </a:lnTo>
                    <a:lnTo>
                      <a:pt x="682" y="302"/>
                    </a:lnTo>
                    <a:lnTo>
                      <a:pt x="683" y="288"/>
                    </a:lnTo>
                    <a:lnTo>
                      <a:pt x="690" y="274"/>
                    </a:lnTo>
                    <a:lnTo>
                      <a:pt x="708" y="247"/>
                    </a:lnTo>
                    <a:lnTo>
                      <a:pt x="659" y="243"/>
                    </a:lnTo>
                    <a:lnTo>
                      <a:pt x="609" y="244"/>
                    </a:lnTo>
                    <a:lnTo>
                      <a:pt x="559" y="251"/>
                    </a:lnTo>
                    <a:lnTo>
                      <a:pt x="511" y="265"/>
                    </a:lnTo>
                    <a:lnTo>
                      <a:pt x="465" y="282"/>
                    </a:lnTo>
                    <a:lnTo>
                      <a:pt x="421" y="306"/>
                    </a:lnTo>
                    <a:lnTo>
                      <a:pt x="379" y="334"/>
                    </a:lnTo>
                    <a:lnTo>
                      <a:pt x="342" y="364"/>
                    </a:lnTo>
                    <a:lnTo>
                      <a:pt x="310" y="398"/>
                    </a:lnTo>
                    <a:lnTo>
                      <a:pt x="282" y="435"/>
                    </a:lnTo>
                    <a:lnTo>
                      <a:pt x="258" y="474"/>
                    </a:lnTo>
                    <a:lnTo>
                      <a:pt x="238" y="514"/>
                    </a:lnTo>
                    <a:lnTo>
                      <a:pt x="222" y="558"/>
                    </a:lnTo>
                    <a:lnTo>
                      <a:pt x="212" y="603"/>
                    </a:lnTo>
                    <a:lnTo>
                      <a:pt x="205" y="648"/>
                    </a:lnTo>
                    <a:lnTo>
                      <a:pt x="203" y="695"/>
                    </a:lnTo>
                    <a:lnTo>
                      <a:pt x="202" y="709"/>
                    </a:lnTo>
                    <a:lnTo>
                      <a:pt x="196" y="720"/>
                    </a:lnTo>
                    <a:lnTo>
                      <a:pt x="188" y="730"/>
                    </a:lnTo>
                    <a:lnTo>
                      <a:pt x="177" y="735"/>
                    </a:lnTo>
                    <a:lnTo>
                      <a:pt x="166" y="738"/>
                    </a:lnTo>
                    <a:lnTo>
                      <a:pt x="45" y="748"/>
                    </a:lnTo>
                    <a:lnTo>
                      <a:pt x="33" y="747"/>
                    </a:lnTo>
                    <a:lnTo>
                      <a:pt x="23" y="743"/>
                    </a:lnTo>
                    <a:lnTo>
                      <a:pt x="13" y="737"/>
                    </a:lnTo>
                    <a:lnTo>
                      <a:pt x="7" y="728"/>
                    </a:lnTo>
                    <a:lnTo>
                      <a:pt x="2" y="718"/>
                    </a:lnTo>
                    <a:lnTo>
                      <a:pt x="0" y="707"/>
                    </a:lnTo>
                    <a:lnTo>
                      <a:pt x="1" y="650"/>
                    </a:lnTo>
                    <a:lnTo>
                      <a:pt x="6" y="594"/>
                    </a:lnTo>
                    <a:lnTo>
                      <a:pt x="16" y="540"/>
                    </a:lnTo>
                    <a:lnTo>
                      <a:pt x="32" y="486"/>
                    </a:lnTo>
                    <a:lnTo>
                      <a:pt x="51" y="434"/>
                    </a:lnTo>
                    <a:lnTo>
                      <a:pt x="75" y="384"/>
                    </a:lnTo>
                    <a:lnTo>
                      <a:pt x="104" y="336"/>
                    </a:lnTo>
                    <a:lnTo>
                      <a:pt x="135" y="291"/>
                    </a:lnTo>
                    <a:lnTo>
                      <a:pt x="172" y="248"/>
                    </a:lnTo>
                    <a:lnTo>
                      <a:pt x="211" y="208"/>
                    </a:lnTo>
                    <a:lnTo>
                      <a:pt x="255" y="172"/>
                    </a:lnTo>
                    <a:lnTo>
                      <a:pt x="306" y="136"/>
                    </a:lnTo>
                    <a:lnTo>
                      <a:pt x="360" y="106"/>
                    </a:lnTo>
                    <a:lnTo>
                      <a:pt x="415" y="81"/>
                    </a:lnTo>
                    <a:lnTo>
                      <a:pt x="472" y="62"/>
                    </a:lnTo>
                    <a:lnTo>
                      <a:pt x="531" y="48"/>
                    </a:lnTo>
                    <a:lnTo>
                      <a:pt x="591" y="40"/>
                    </a:lnTo>
                    <a:lnTo>
                      <a:pt x="651" y="38"/>
                    </a:lnTo>
                    <a:lnTo>
                      <a:pt x="712" y="41"/>
                    </a:lnTo>
                    <a:lnTo>
                      <a:pt x="772" y="50"/>
                    </a:lnTo>
                    <a:lnTo>
                      <a:pt x="832" y="65"/>
                    </a:lnTo>
                    <a:lnTo>
                      <a:pt x="865" y="18"/>
                    </a:lnTo>
                    <a:lnTo>
                      <a:pt x="874" y="7"/>
                    </a:lnTo>
                    <a:lnTo>
                      <a:pt x="888" y="2"/>
                    </a:lnTo>
                    <a:lnTo>
                      <a:pt x="9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79" name="Freeform 19"/>
              <p:cNvSpPr>
                <a:spLocks/>
              </p:cNvSpPr>
              <p:nvPr/>
            </p:nvSpPr>
            <p:spPr bwMode="auto">
              <a:xfrm>
                <a:off x="1225" y="1163"/>
                <a:ext cx="97" cy="68"/>
              </a:xfrm>
              <a:custGeom>
                <a:avLst/>
                <a:gdLst>
                  <a:gd name="T0" fmla="*/ 0 w 1074"/>
                  <a:gd name="T1" fmla="*/ 0 h 746"/>
                  <a:gd name="T2" fmla="*/ 0 w 1074"/>
                  <a:gd name="T3" fmla="*/ 0 h 746"/>
                  <a:gd name="T4" fmla="*/ 0 w 1074"/>
                  <a:gd name="T5" fmla="*/ 0 h 746"/>
                  <a:gd name="T6" fmla="*/ 0 w 1074"/>
                  <a:gd name="T7" fmla="*/ 0 h 746"/>
                  <a:gd name="T8" fmla="*/ 0 w 1074"/>
                  <a:gd name="T9" fmla="*/ 0 h 746"/>
                  <a:gd name="T10" fmla="*/ 0 w 1074"/>
                  <a:gd name="T11" fmla="*/ 0 h 746"/>
                  <a:gd name="T12" fmla="*/ 0 w 1074"/>
                  <a:gd name="T13" fmla="*/ 0 h 746"/>
                  <a:gd name="T14" fmla="*/ 0 w 1074"/>
                  <a:gd name="T15" fmla="*/ 0 h 746"/>
                  <a:gd name="T16" fmla="*/ 0 w 1074"/>
                  <a:gd name="T17" fmla="*/ 0 h 746"/>
                  <a:gd name="T18" fmla="*/ 0 w 1074"/>
                  <a:gd name="T19" fmla="*/ 0 h 746"/>
                  <a:gd name="T20" fmla="*/ 0 w 1074"/>
                  <a:gd name="T21" fmla="*/ 0 h 746"/>
                  <a:gd name="T22" fmla="*/ 0 w 1074"/>
                  <a:gd name="T23" fmla="*/ 0 h 746"/>
                  <a:gd name="T24" fmla="*/ 0 w 1074"/>
                  <a:gd name="T25" fmla="*/ 0 h 746"/>
                  <a:gd name="T26" fmla="*/ 0 w 1074"/>
                  <a:gd name="T27" fmla="*/ 0 h 746"/>
                  <a:gd name="T28" fmla="*/ 0 w 1074"/>
                  <a:gd name="T29" fmla="*/ 0 h 746"/>
                  <a:gd name="T30" fmla="*/ 0 w 1074"/>
                  <a:gd name="T31" fmla="*/ 0 h 746"/>
                  <a:gd name="T32" fmla="*/ 0 w 1074"/>
                  <a:gd name="T33" fmla="*/ 0 h 746"/>
                  <a:gd name="T34" fmla="*/ 0 w 1074"/>
                  <a:gd name="T35" fmla="*/ 0 h 746"/>
                  <a:gd name="T36" fmla="*/ 0 w 1074"/>
                  <a:gd name="T37" fmla="*/ 0 h 746"/>
                  <a:gd name="T38" fmla="*/ 0 w 1074"/>
                  <a:gd name="T39" fmla="*/ 0 h 746"/>
                  <a:gd name="T40" fmla="*/ 0 w 1074"/>
                  <a:gd name="T41" fmla="*/ 0 h 746"/>
                  <a:gd name="T42" fmla="*/ 0 w 1074"/>
                  <a:gd name="T43" fmla="*/ 0 h 746"/>
                  <a:gd name="T44" fmla="*/ 0 w 1074"/>
                  <a:gd name="T45" fmla="*/ 0 h 746"/>
                  <a:gd name="T46" fmla="*/ 0 w 1074"/>
                  <a:gd name="T47" fmla="*/ 0 h 746"/>
                  <a:gd name="T48" fmla="*/ 0 w 1074"/>
                  <a:gd name="T49" fmla="*/ 0 h 746"/>
                  <a:gd name="T50" fmla="*/ 0 w 1074"/>
                  <a:gd name="T51" fmla="*/ 0 h 746"/>
                  <a:gd name="T52" fmla="*/ 0 w 1074"/>
                  <a:gd name="T53" fmla="*/ 0 h 746"/>
                  <a:gd name="T54" fmla="*/ 0 w 1074"/>
                  <a:gd name="T55" fmla="*/ 0 h 746"/>
                  <a:gd name="T56" fmla="*/ 0 w 1074"/>
                  <a:gd name="T57" fmla="*/ 0 h 746"/>
                  <a:gd name="T58" fmla="*/ 0 w 1074"/>
                  <a:gd name="T59" fmla="*/ 0 h 746"/>
                  <a:gd name="T60" fmla="*/ 0 w 1074"/>
                  <a:gd name="T61" fmla="*/ 0 h 746"/>
                  <a:gd name="T62" fmla="*/ 0 w 1074"/>
                  <a:gd name="T63" fmla="*/ 0 h 746"/>
                  <a:gd name="T64" fmla="*/ 0 w 1074"/>
                  <a:gd name="T65" fmla="*/ 0 h 746"/>
                  <a:gd name="T66" fmla="*/ 0 w 1074"/>
                  <a:gd name="T67" fmla="*/ 0 h 746"/>
                  <a:gd name="T68" fmla="*/ 0 w 1074"/>
                  <a:gd name="T69" fmla="*/ 0 h 746"/>
                  <a:gd name="T70" fmla="*/ 0 w 1074"/>
                  <a:gd name="T71" fmla="*/ 0 h 7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4"/>
                  <a:gd name="T109" fmla="*/ 0 h 746"/>
                  <a:gd name="T110" fmla="*/ 1074 w 1074"/>
                  <a:gd name="T111" fmla="*/ 746 h 7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4" h="746">
                    <a:moveTo>
                      <a:pt x="1030" y="0"/>
                    </a:moveTo>
                    <a:lnTo>
                      <a:pt x="1040" y="0"/>
                    </a:lnTo>
                    <a:lnTo>
                      <a:pt x="1051" y="4"/>
                    </a:lnTo>
                    <a:lnTo>
                      <a:pt x="1060" y="10"/>
                    </a:lnTo>
                    <a:lnTo>
                      <a:pt x="1068" y="19"/>
                    </a:lnTo>
                    <a:lnTo>
                      <a:pt x="1073" y="28"/>
                    </a:lnTo>
                    <a:lnTo>
                      <a:pt x="1074" y="40"/>
                    </a:lnTo>
                    <a:lnTo>
                      <a:pt x="1074" y="96"/>
                    </a:lnTo>
                    <a:lnTo>
                      <a:pt x="1068" y="152"/>
                    </a:lnTo>
                    <a:lnTo>
                      <a:pt x="1057" y="207"/>
                    </a:lnTo>
                    <a:lnTo>
                      <a:pt x="1043" y="260"/>
                    </a:lnTo>
                    <a:lnTo>
                      <a:pt x="1023" y="313"/>
                    </a:lnTo>
                    <a:lnTo>
                      <a:pt x="1000" y="362"/>
                    </a:lnTo>
                    <a:lnTo>
                      <a:pt x="971" y="410"/>
                    </a:lnTo>
                    <a:lnTo>
                      <a:pt x="940" y="455"/>
                    </a:lnTo>
                    <a:lnTo>
                      <a:pt x="903" y="499"/>
                    </a:lnTo>
                    <a:lnTo>
                      <a:pt x="863" y="538"/>
                    </a:lnTo>
                    <a:lnTo>
                      <a:pt x="820" y="574"/>
                    </a:lnTo>
                    <a:lnTo>
                      <a:pt x="769" y="610"/>
                    </a:lnTo>
                    <a:lnTo>
                      <a:pt x="715" y="640"/>
                    </a:lnTo>
                    <a:lnTo>
                      <a:pt x="659" y="665"/>
                    </a:lnTo>
                    <a:lnTo>
                      <a:pt x="603" y="684"/>
                    </a:lnTo>
                    <a:lnTo>
                      <a:pt x="544" y="698"/>
                    </a:lnTo>
                    <a:lnTo>
                      <a:pt x="484" y="706"/>
                    </a:lnTo>
                    <a:lnTo>
                      <a:pt x="424" y="709"/>
                    </a:lnTo>
                    <a:lnTo>
                      <a:pt x="363" y="705"/>
                    </a:lnTo>
                    <a:lnTo>
                      <a:pt x="302" y="696"/>
                    </a:lnTo>
                    <a:lnTo>
                      <a:pt x="242" y="681"/>
                    </a:lnTo>
                    <a:lnTo>
                      <a:pt x="210" y="728"/>
                    </a:lnTo>
                    <a:lnTo>
                      <a:pt x="199" y="739"/>
                    </a:lnTo>
                    <a:lnTo>
                      <a:pt x="187" y="745"/>
                    </a:lnTo>
                    <a:lnTo>
                      <a:pt x="172" y="746"/>
                    </a:lnTo>
                    <a:lnTo>
                      <a:pt x="158" y="743"/>
                    </a:lnTo>
                    <a:lnTo>
                      <a:pt x="147" y="735"/>
                    </a:lnTo>
                    <a:lnTo>
                      <a:pt x="139" y="723"/>
                    </a:lnTo>
                    <a:lnTo>
                      <a:pt x="3" y="443"/>
                    </a:lnTo>
                    <a:lnTo>
                      <a:pt x="0" y="429"/>
                    </a:lnTo>
                    <a:lnTo>
                      <a:pt x="1" y="415"/>
                    </a:lnTo>
                    <a:lnTo>
                      <a:pt x="6" y="402"/>
                    </a:lnTo>
                    <a:lnTo>
                      <a:pt x="17" y="391"/>
                    </a:lnTo>
                    <a:lnTo>
                      <a:pt x="29" y="385"/>
                    </a:lnTo>
                    <a:lnTo>
                      <a:pt x="44" y="384"/>
                    </a:lnTo>
                    <a:lnTo>
                      <a:pt x="354" y="407"/>
                    </a:lnTo>
                    <a:lnTo>
                      <a:pt x="367" y="410"/>
                    </a:lnTo>
                    <a:lnTo>
                      <a:pt x="380" y="419"/>
                    </a:lnTo>
                    <a:lnTo>
                      <a:pt x="388" y="430"/>
                    </a:lnTo>
                    <a:lnTo>
                      <a:pt x="392" y="444"/>
                    </a:lnTo>
                    <a:lnTo>
                      <a:pt x="391" y="459"/>
                    </a:lnTo>
                    <a:lnTo>
                      <a:pt x="385" y="472"/>
                    </a:lnTo>
                    <a:lnTo>
                      <a:pt x="365" y="501"/>
                    </a:lnTo>
                    <a:lnTo>
                      <a:pt x="416" y="504"/>
                    </a:lnTo>
                    <a:lnTo>
                      <a:pt x="466" y="503"/>
                    </a:lnTo>
                    <a:lnTo>
                      <a:pt x="515" y="495"/>
                    </a:lnTo>
                    <a:lnTo>
                      <a:pt x="563" y="483"/>
                    </a:lnTo>
                    <a:lnTo>
                      <a:pt x="610" y="464"/>
                    </a:lnTo>
                    <a:lnTo>
                      <a:pt x="654" y="441"/>
                    </a:lnTo>
                    <a:lnTo>
                      <a:pt x="696" y="412"/>
                    </a:lnTo>
                    <a:lnTo>
                      <a:pt x="732" y="382"/>
                    </a:lnTo>
                    <a:lnTo>
                      <a:pt x="764" y="348"/>
                    </a:lnTo>
                    <a:lnTo>
                      <a:pt x="793" y="312"/>
                    </a:lnTo>
                    <a:lnTo>
                      <a:pt x="817" y="273"/>
                    </a:lnTo>
                    <a:lnTo>
                      <a:pt x="837" y="232"/>
                    </a:lnTo>
                    <a:lnTo>
                      <a:pt x="851" y="189"/>
                    </a:lnTo>
                    <a:lnTo>
                      <a:pt x="863" y="145"/>
                    </a:lnTo>
                    <a:lnTo>
                      <a:pt x="869" y="98"/>
                    </a:lnTo>
                    <a:lnTo>
                      <a:pt x="871" y="51"/>
                    </a:lnTo>
                    <a:lnTo>
                      <a:pt x="872" y="39"/>
                    </a:lnTo>
                    <a:lnTo>
                      <a:pt x="879" y="27"/>
                    </a:lnTo>
                    <a:lnTo>
                      <a:pt x="887" y="18"/>
                    </a:lnTo>
                    <a:lnTo>
                      <a:pt x="898" y="11"/>
                    </a:lnTo>
                    <a:lnTo>
                      <a:pt x="909" y="9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80" name="Freeform 20"/>
              <p:cNvSpPr>
                <a:spLocks/>
              </p:cNvSpPr>
              <p:nvPr/>
            </p:nvSpPr>
            <p:spPr bwMode="auto">
              <a:xfrm>
                <a:off x="1099" y="1088"/>
                <a:ext cx="80" cy="95"/>
              </a:xfrm>
              <a:custGeom>
                <a:avLst/>
                <a:gdLst>
                  <a:gd name="T0" fmla="*/ 0 w 873"/>
                  <a:gd name="T1" fmla="*/ 0 h 1046"/>
                  <a:gd name="T2" fmla="*/ 0 w 873"/>
                  <a:gd name="T3" fmla="*/ 0 h 1046"/>
                  <a:gd name="T4" fmla="*/ 0 w 873"/>
                  <a:gd name="T5" fmla="*/ 0 h 1046"/>
                  <a:gd name="T6" fmla="*/ 0 w 873"/>
                  <a:gd name="T7" fmla="*/ 0 h 1046"/>
                  <a:gd name="T8" fmla="*/ 0 w 873"/>
                  <a:gd name="T9" fmla="*/ 0 h 1046"/>
                  <a:gd name="T10" fmla="*/ 0 w 873"/>
                  <a:gd name="T11" fmla="*/ 0 h 1046"/>
                  <a:gd name="T12" fmla="*/ 0 w 873"/>
                  <a:gd name="T13" fmla="*/ 0 h 1046"/>
                  <a:gd name="T14" fmla="*/ 0 w 873"/>
                  <a:gd name="T15" fmla="*/ 0 h 1046"/>
                  <a:gd name="T16" fmla="*/ 0 w 873"/>
                  <a:gd name="T17" fmla="*/ 0 h 1046"/>
                  <a:gd name="T18" fmla="*/ 0 w 873"/>
                  <a:gd name="T19" fmla="*/ 0 h 1046"/>
                  <a:gd name="T20" fmla="*/ 0 w 873"/>
                  <a:gd name="T21" fmla="*/ 0 h 1046"/>
                  <a:gd name="T22" fmla="*/ 0 w 873"/>
                  <a:gd name="T23" fmla="*/ 0 h 1046"/>
                  <a:gd name="T24" fmla="*/ 0 w 873"/>
                  <a:gd name="T25" fmla="*/ 0 h 1046"/>
                  <a:gd name="T26" fmla="*/ 0 w 873"/>
                  <a:gd name="T27" fmla="*/ 0 h 1046"/>
                  <a:gd name="T28" fmla="*/ 0 w 873"/>
                  <a:gd name="T29" fmla="*/ 0 h 1046"/>
                  <a:gd name="T30" fmla="*/ 0 w 873"/>
                  <a:gd name="T31" fmla="*/ 0 h 1046"/>
                  <a:gd name="T32" fmla="*/ 0 w 873"/>
                  <a:gd name="T33" fmla="*/ 0 h 1046"/>
                  <a:gd name="T34" fmla="*/ 0 w 873"/>
                  <a:gd name="T35" fmla="*/ 0 h 1046"/>
                  <a:gd name="T36" fmla="*/ 0 w 873"/>
                  <a:gd name="T37" fmla="*/ 0 h 1046"/>
                  <a:gd name="T38" fmla="*/ 0 w 873"/>
                  <a:gd name="T39" fmla="*/ 0 h 1046"/>
                  <a:gd name="T40" fmla="*/ 0 w 873"/>
                  <a:gd name="T41" fmla="*/ 0 h 1046"/>
                  <a:gd name="T42" fmla="*/ 0 w 873"/>
                  <a:gd name="T43" fmla="*/ 0 h 1046"/>
                  <a:gd name="T44" fmla="*/ 0 w 873"/>
                  <a:gd name="T45" fmla="*/ 0 h 1046"/>
                  <a:gd name="T46" fmla="*/ 0 w 873"/>
                  <a:gd name="T47" fmla="*/ 0 h 1046"/>
                  <a:gd name="T48" fmla="*/ 0 w 873"/>
                  <a:gd name="T49" fmla="*/ 0 h 1046"/>
                  <a:gd name="T50" fmla="*/ 0 w 873"/>
                  <a:gd name="T51" fmla="*/ 0 h 1046"/>
                  <a:gd name="T52" fmla="*/ 0 w 873"/>
                  <a:gd name="T53" fmla="*/ 0 h 1046"/>
                  <a:gd name="T54" fmla="*/ 0 w 873"/>
                  <a:gd name="T55" fmla="*/ 0 h 1046"/>
                  <a:gd name="T56" fmla="*/ 0 w 873"/>
                  <a:gd name="T57" fmla="*/ 0 h 1046"/>
                  <a:gd name="T58" fmla="*/ 0 w 873"/>
                  <a:gd name="T59" fmla="*/ 0 h 1046"/>
                  <a:gd name="T60" fmla="*/ 0 w 873"/>
                  <a:gd name="T61" fmla="*/ 0 h 1046"/>
                  <a:gd name="T62" fmla="*/ 0 w 873"/>
                  <a:gd name="T63" fmla="*/ 0 h 1046"/>
                  <a:gd name="T64" fmla="*/ 0 w 873"/>
                  <a:gd name="T65" fmla="*/ 0 h 1046"/>
                  <a:gd name="T66" fmla="*/ 0 w 873"/>
                  <a:gd name="T67" fmla="*/ 0 h 1046"/>
                  <a:gd name="T68" fmla="*/ 0 w 873"/>
                  <a:gd name="T69" fmla="*/ 0 h 1046"/>
                  <a:gd name="T70" fmla="*/ 0 w 873"/>
                  <a:gd name="T71" fmla="*/ 0 h 1046"/>
                  <a:gd name="T72" fmla="*/ 0 w 873"/>
                  <a:gd name="T73" fmla="*/ 0 h 10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73"/>
                  <a:gd name="T112" fmla="*/ 0 h 1046"/>
                  <a:gd name="T113" fmla="*/ 873 w 873"/>
                  <a:gd name="T114" fmla="*/ 1046 h 10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73" h="1046">
                    <a:moveTo>
                      <a:pt x="436" y="0"/>
                    </a:moveTo>
                    <a:lnTo>
                      <a:pt x="493" y="2"/>
                    </a:lnTo>
                    <a:lnTo>
                      <a:pt x="544" y="8"/>
                    </a:lnTo>
                    <a:lnTo>
                      <a:pt x="592" y="18"/>
                    </a:lnTo>
                    <a:lnTo>
                      <a:pt x="638" y="31"/>
                    </a:lnTo>
                    <a:lnTo>
                      <a:pt x="678" y="49"/>
                    </a:lnTo>
                    <a:lnTo>
                      <a:pt x="715" y="70"/>
                    </a:lnTo>
                    <a:lnTo>
                      <a:pt x="748" y="95"/>
                    </a:lnTo>
                    <a:lnTo>
                      <a:pt x="777" y="123"/>
                    </a:lnTo>
                    <a:lnTo>
                      <a:pt x="802" y="156"/>
                    </a:lnTo>
                    <a:lnTo>
                      <a:pt x="823" y="192"/>
                    </a:lnTo>
                    <a:lnTo>
                      <a:pt x="841" y="232"/>
                    </a:lnTo>
                    <a:lnTo>
                      <a:pt x="855" y="276"/>
                    </a:lnTo>
                    <a:lnTo>
                      <a:pt x="864" y="324"/>
                    </a:lnTo>
                    <a:lnTo>
                      <a:pt x="871" y="374"/>
                    </a:lnTo>
                    <a:lnTo>
                      <a:pt x="873" y="429"/>
                    </a:lnTo>
                    <a:lnTo>
                      <a:pt x="871" y="495"/>
                    </a:lnTo>
                    <a:lnTo>
                      <a:pt x="867" y="556"/>
                    </a:lnTo>
                    <a:lnTo>
                      <a:pt x="859" y="611"/>
                    </a:lnTo>
                    <a:lnTo>
                      <a:pt x="849" y="663"/>
                    </a:lnTo>
                    <a:lnTo>
                      <a:pt x="836" y="711"/>
                    </a:lnTo>
                    <a:lnTo>
                      <a:pt x="821" y="754"/>
                    </a:lnTo>
                    <a:lnTo>
                      <a:pt x="805" y="793"/>
                    </a:lnTo>
                    <a:lnTo>
                      <a:pt x="787" y="829"/>
                    </a:lnTo>
                    <a:lnTo>
                      <a:pt x="767" y="861"/>
                    </a:lnTo>
                    <a:lnTo>
                      <a:pt x="746" y="891"/>
                    </a:lnTo>
                    <a:lnTo>
                      <a:pt x="724" y="916"/>
                    </a:lnTo>
                    <a:lnTo>
                      <a:pt x="701" y="939"/>
                    </a:lnTo>
                    <a:lnTo>
                      <a:pt x="678" y="959"/>
                    </a:lnTo>
                    <a:lnTo>
                      <a:pt x="654" y="976"/>
                    </a:lnTo>
                    <a:lnTo>
                      <a:pt x="631" y="990"/>
                    </a:lnTo>
                    <a:lnTo>
                      <a:pt x="608" y="1003"/>
                    </a:lnTo>
                    <a:lnTo>
                      <a:pt x="585" y="1014"/>
                    </a:lnTo>
                    <a:lnTo>
                      <a:pt x="564" y="1023"/>
                    </a:lnTo>
                    <a:lnTo>
                      <a:pt x="543" y="1029"/>
                    </a:lnTo>
                    <a:lnTo>
                      <a:pt x="523" y="1036"/>
                    </a:lnTo>
                    <a:lnTo>
                      <a:pt x="504" y="1040"/>
                    </a:lnTo>
                    <a:lnTo>
                      <a:pt x="489" y="1042"/>
                    </a:lnTo>
                    <a:lnTo>
                      <a:pt x="473" y="1044"/>
                    </a:lnTo>
                    <a:lnTo>
                      <a:pt x="460" y="1046"/>
                    </a:lnTo>
                    <a:lnTo>
                      <a:pt x="451" y="1046"/>
                    </a:lnTo>
                    <a:lnTo>
                      <a:pt x="443" y="1046"/>
                    </a:lnTo>
                    <a:lnTo>
                      <a:pt x="438" y="1046"/>
                    </a:lnTo>
                    <a:lnTo>
                      <a:pt x="436" y="1046"/>
                    </a:lnTo>
                    <a:lnTo>
                      <a:pt x="388" y="1044"/>
                    </a:lnTo>
                    <a:lnTo>
                      <a:pt x="340" y="1037"/>
                    </a:lnTo>
                    <a:lnTo>
                      <a:pt x="297" y="1024"/>
                    </a:lnTo>
                    <a:lnTo>
                      <a:pt x="255" y="1006"/>
                    </a:lnTo>
                    <a:lnTo>
                      <a:pt x="218" y="983"/>
                    </a:lnTo>
                    <a:lnTo>
                      <a:pt x="182" y="955"/>
                    </a:lnTo>
                    <a:lnTo>
                      <a:pt x="149" y="922"/>
                    </a:lnTo>
                    <a:lnTo>
                      <a:pt x="119" y="884"/>
                    </a:lnTo>
                    <a:lnTo>
                      <a:pt x="93" y="842"/>
                    </a:lnTo>
                    <a:lnTo>
                      <a:pt x="70" y="795"/>
                    </a:lnTo>
                    <a:lnTo>
                      <a:pt x="50" y="745"/>
                    </a:lnTo>
                    <a:lnTo>
                      <a:pt x="32" y="689"/>
                    </a:lnTo>
                    <a:lnTo>
                      <a:pt x="19" y="630"/>
                    </a:lnTo>
                    <a:lnTo>
                      <a:pt x="9" y="567"/>
                    </a:lnTo>
                    <a:lnTo>
                      <a:pt x="2" y="500"/>
                    </a:lnTo>
                    <a:lnTo>
                      <a:pt x="0" y="429"/>
                    </a:lnTo>
                    <a:lnTo>
                      <a:pt x="1" y="374"/>
                    </a:lnTo>
                    <a:lnTo>
                      <a:pt x="8" y="324"/>
                    </a:lnTo>
                    <a:lnTo>
                      <a:pt x="17" y="276"/>
                    </a:lnTo>
                    <a:lnTo>
                      <a:pt x="31" y="232"/>
                    </a:lnTo>
                    <a:lnTo>
                      <a:pt x="49" y="192"/>
                    </a:lnTo>
                    <a:lnTo>
                      <a:pt x="71" y="156"/>
                    </a:lnTo>
                    <a:lnTo>
                      <a:pt x="97" y="123"/>
                    </a:lnTo>
                    <a:lnTo>
                      <a:pt x="126" y="95"/>
                    </a:lnTo>
                    <a:lnTo>
                      <a:pt x="160" y="70"/>
                    </a:lnTo>
                    <a:lnTo>
                      <a:pt x="197" y="49"/>
                    </a:lnTo>
                    <a:lnTo>
                      <a:pt x="238" y="31"/>
                    </a:lnTo>
                    <a:lnTo>
                      <a:pt x="283" y="18"/>
                    </a:lnTo>
                    <a:lnTo>
                      <a:pt x="330" y="8"/>
                    </a:lnTo>
                    <a:lnTo>
                      <a:pt x="381" y="2"/>
                    </a:lnTo>
                    <a:lnTo>
                      <a:pt x="43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81" name="Freeform 21"/>
              <p:cNvSpPr>
                <a:spLocks/>
              </p:cNvSpPr>
              <p:nvPr/>
            </p:nvSpPr>
            <p:spPr bwMode="auto">
              <a:xfrm>
                <a:off x="1055" y="1185"/>
                <a:ext cx="168" cy="79"/>
              </a:xfrm>
              <a:custGeom>
                <a:avLst/>
                <a:gdLst>
                  <a:gd name="T0" fmla="*/ 0 w 1849"/>
                  <a:gd name="T1" fmla="*/ 0 h 875"/>
                  <a:gd name="T2" fmla="*/ 0 w 1849"/>
                  <a:gd name="T3" fmla="*/ 0 h 875"/>
                  <a:gd name="T4" fmla="*/ 0 w 1849"/>
                  <a:gd name="T5" fmla="*/ 0 h 875"/>
                  <a:gd name="T6" fmla="*/ 0 w 1849"/>
                  <a:gd name="T7" fmla="*/ 0 h 875"/>
                  <a:gd name="T8" fmla="*/ 0 w 1849"/>
                  <a:gd name="T9" fmla="*/ 0 h 875"/>
                  <a:gd name="T10" fmla="*/ 0 w 1849"/>
                  <a:gd name="T11" fmla="*/ 0 h 875"/>
                  <a:gd name="T12" fmla="*/ 0 w 1849"/>
                  <a:gd name="T13" fmla="*/ 0 h 875"/>
                  <a:gd name="T14" fmla="*/ 0 w 1849"/>
                  <a:gd name="T15" fmla="*/ 0 h 875"/>
                  <a:gd name="T16" fmla="*/ 0 w 1849"/>
                  <a:gd name="T17" fmla="*/ 0 h 875"/>
                  <a:gd name="T18" fmla="*/ 0 w 1849"/>
                  <a:gd name="T19" fmla="*/ 0 h 875"/>
                  <a:gd name="T20" fmla="*/ 0 w 1849"/>
                  <a:gd name="T21" fmla="*/ 0 h 875"/>
                  <a:gd name="T22" fmla="*/ 0 w 1849"/>
                  <a:gd name="T23" fmla="*/ 0 h 875"/>
                  <a:gd name="T24" fmla="*/ 0 w 1849"/>
                  <a:gd name="T25" fmla="*/ 0 h 875"/>
                  <a:gd name="T26" fmla="*/ 0 w 1849"/>
                  <a:gd name="T27" fmla="*/ 0 h 875"/>
                  <a:gd name="T28" fmla="*/ 0 w 1849"/>
                  <a:gd name="T29" fmla="*/ 0 h 875"/>
                  <a:gd name="T30" fmla="*/ 0 w 1849"/>
                  <a:gd name="T31" fmla="*/ 0 h 875"/>
                  <a:gd name="T32" fmla="*/ 0 w 1849"/>
                  <a:gd name="T33" fmla="*/ 0 h 875"/>
                  <a:gd name="T34" fmla="*/ 0 w 1849"/>
                  <a:gd name="T35" fmla="*/ 0 h 875"/>
                  <a:gd name="T36" fmla="*/ 0 w 1849"/>
                  <a:gd name="T37" fmla="*/ 0 h 875"/>
                  <a:gd name="T38" fmla="*/ 0 w 1849"/>
                  <a:gd name="T39" fmla="*/ 0 h 875"/>
                  <a:gd name="T40" fmla="*/ 0 w 1849"/>
                  <a:gd name="T41" fmla="*/ 0 h 875"/>
                  <a:gd name="T42" fmla="*/ 0 w 1849"/>
                  <a:gd name="T43" fmla="*/ 0 h 875"/>
                  <a:gd name="T44" fmla="*/ 0 w 1849"/>
                  <a:gd name="T45" fmla="*/ 0 h 875"/>
                  <a:gd name="T46" fmla="*/ 0 w 1849"/>
                  <a:gd name="T47" fmla="*/ 0 h 875"/>
                  <a:gd name="T48" fmla="*/ 0 w 1849"/>
                  <a:gd name="T49" fmla="*/ 0 h 875"/>
                  <a:gd name="T50" fmla="*/ 0 w 1849"/>
                  <a:gd name="T51" fmla="*/ 0 h 875"/>
                  <a:gd name="T52" fmla="*/ 0 w 1849"/>
                  <a:gd name="T53" fmla="*/ 0 h 875"/>
                  <a:gd name="T54" fmla="*/ 0 w 1849"/>
                  <a:gd name="T55" fmla="*/ 0 h 875"/>
                  <a:gd name="T56" fmla="*/ 0 w 1849"/>
                  <a:gd name="T57" fmla="*/ 0 h 875"/>
                  <a:gd name="T58" fmla="*/ 0 w 1849"/>
                  <a:gd name="T59" fmla="*/ 0 h 875"/>
                  <a:gd name="T60" fmla="*/ 0 w 1849"/>
                  <a:gd name="T61" fmla="*/ 0 h 875"/>
                  <a:gd name="T62" fmla="*/ 0 w 1849"/>
                  <a:gd name="T63" fmla="*/ 0 h 875"/>
                  <a:gd name="T64" fmla="*/ 0 w 1849"/>
                  <a:gd name="T65" fmla="*/ 0 h 875"/>
                  <a:gd name="T66" fmla="*/ 0 w 1849"/>
                  <a:gd name="T67" fmla="*/ 0 h 875"/>
                  <a:gd name="T68" fmla="*/ 0 w 1849"/>
                  <a:gd name="T69" fmla="*/ 0 h 875"/>
                  <a:gd name="T70" fmla="*/ 0 w 1849"/>
                  <a:gd name="T71" fmla="*/ 0 h 875"/>
                  <a:gd name="T72" fmla="*/ 0 w 1849"/>
                  <a:gd name="T73" fmla="*/ 0 h 875"/>
                  <a:gd name="T74" fmla="*/ 0 w 1849"/>
                  <a:gd name="T75" fmla="*/ 0 h 875"/>
                  <a:gd name="T76" fmla="*/ 0 w 1849"/>
                  <a:gd name="T77" fmla="*/ 0 h 875"/>
                  <a:gd name="T78" fmla="*/ 0 w 1849"/>
                  <a:gd name="T79" fmla="*/ 0 h 875"/>
                  <a:gd name="T80" fmla="*/ 0 w 1849"/>
                  <a:gd name="T81" fmla="*/ 0 h 875"/>
                  <a:gd name="T82" fmla="*/ 0 w 1849"/>
                  <a:gd name="T83" fmla="*/ 0 h 875"/>
                  <a:gd name="T84" fmla="*/ 0 w 1849"/>
                  <a:gd name="T85" fmla="*/ 0 h 875"/>
                  <a:gd name="T86" fmla="*/ 0 w 1849"/>
                  <a:gd name="T87" fmla="*/ 0 h 875"/>
                  <a:gd name="T88" fmla="*/ 0 w 1849"/>
                  <a:gd name="T89" fmla="*/ 0 h 875"/>
                  <a:gd name="T90" fmla="*/ 0 w 1849"/>
                  <a:gd name="T91" fmla="*/ 0 h 875"/>
                  <a:gd name="T92" fmla="*/ 0 w 1849"/>
                  <a:gd name="T93" fmla="*/ 0 h 875"/>
                  <a:gd name="T94" fmla="*/ 0 w 1849"/>
                  <a:gd name="T95" fmla="*/ 0 h 875"/>
                  <a:gd name="T96" fmla="*/ 0 w 1849"/>
                  <a:gd name="T97" fmla="*/ 0 h 875"/>
                  <a:gd name="T98" fmla="*/ 0 w 1849"/>
                  <a:gd name="T99" fmla="*/ 0 h 875"/>
                  <a:gd name="T100" fmla="*/ 0 w 1849"/>
                  <a:gd name="T101" fmla="*/ 0 h 875"/>
                  <a:gd name="T102" fmla="*/ 0 w 1849"/>
                  <a:gd name="T103" fmla="*/ 0 h 875"/>
                  <a:gd name="T104" fmla="*/ 0 w 1849"/>
                  <a:gd name="T105" fmla="*/ 0 h 875"/>
                  <a:gd name="T106" fmla="*/ 0 w 1849"/>
                  <a:gd name="T107" fmla="*/ 0 h 875"/>
                  <a:gd name="T108" fmla="*/ 0 w 1849"/>
                  <a:gd name="T109" fmla="*/ 0 h 875"/>
                  <a:gd name="T110" fmla="*/ 0 w 1849"/>
                  <a:gd name="T111" fmla="*/ 0 h 875"/>
                  <a:gd name="T112" fmla="*/ 0 w 1849"/>
                  <a:gd name="T113" fmla="*/ 0 h 875"/>
                  <a:gd name="T114" fmla="*/ 0 w 1849"/>
                  <a:gd name="T115" fmla="*/ 0 h 875"/>
                  <a:gd name="T116" fmla="*/ 0 w 1849"/>
                  <a:gd name="T117" fmla="*/ 0 h 875"/>
                  <a:gd name="T118" fmla="*/ 0 w 1849"/>
                  <a:gd name="T119" fmla="*/ 0 h 875"/>
                  <a:gd name="T120" fmla="*/ 0 w 1849"/>
                  <a:gd name="T121" fmla="*/ 0 h 875"/>
                  <a:gd name="T122" fmla="*/ 0 w 1849"/>
                  <a:gd name="T123" fmla="*/ 0 h 8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49"/>
                  <a:gd name="T187" fmla="*/ 0 h 875"/>
                  <a:gd name="T188" fmla="*/ 1849 w 1849"/>
                  <a:gd name="T189" fmla="*/ 875 h 8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49" h="875">
                    <a:moveTo>
                      <a:pt x="1112" y="0"/>
                    </a:moveTo>
                    <a:lnTo>
                      <a:pt x="1128" y="2"/>
                    </a:lnTo>
                    <a:lnTo>
                      <a:pt x="1143" y="7"/>
                    </a:lnTo>
                    <a:lnTo>
                      <a:pt x="1158" y="16"/>
                    </a:lnTo>
                    <a:lnTo>
                      <a:pt x="1260" y="102"/>
                    </a:lnTo>
                    <a:lnTo>
                      <a:pt x="1696" y="276"/>
                    </a:lnTo>
                    <a:lnTo>
                      <a:pt x="1716" y="287"/>
                    </a:lnTo>
                    <a:lnTo>
                      <a:pt x="1733" y="303"/>
                    </a:lnTo>
                    <a:lnTo>
                      <a:pt x="1748" y="324"/>
                    </a:lnTo>
                    <a:lnTo>
                      <a:pt x="1762" y="350"/>
                    </a:lnTo>
                    <a:lnTo>
                      <a:pt x="1775" y="379"/>
                    </a:lnTo>
                    <a:lnTo>
                      <a:pt x="1786" y="412"/>
                    </a:lnTo>
                    <a:lnTo>
                      <a:pt x="1796" y="446"/>
                    </a:lnTo>
                    <a:lnTo>
                      <a:pt x="1804" y="483"/>
                    </a:lnTo>
                    <a:lnTo>
                      <a:pt x="1811" y="521"/>
                    </a:lnTo>
                    <a:lnTo>
                      <a:pt x="1818" y="560"/>
                    </a:lnTo>
                    <a:lnTo>
                      <a:pt x="1823" y="598"/>
                    </a:lnTo>
                    <a:lnTo>
                      <a:pt x="1828" y="637"/>
                    </a:lnTo>
                    <a:lnTo>
                      <a:pt x="1832" y="675"/>
                    </a:lnTo>
                    <a:lnTo>
                      <a:pt x="1835" y="712"/>
                    </a:lnTo>
                    <a:lnTo>
                      <a:pt x="1838" y="745"/>
                    </a:lnTo>
                    <a:lnTo>
                      <a:pt x="1840" y="778"/>
                    </a:lnTo>
                    <a:lnTo>
                      <a:pt x="1842" y="805"/>
                    </a:lnTo>
                    <a:lnTo>
                      <a:pt x="1844" y="830"/>
                    </a:lnTo>
                    <a:lnTo>
                      <a:pt x="1846" y="850"/>
                    </a:lnTo>
                    <a:lnTo>
                      <a:pt x="1847" y="865"/>
                    </a:lnTo>
                    <a:lnTo>
                      <a:pt x="1849" y="875"/>
                    </a:lnTo>
                    <a:lnTo>
                      <a:pt x="0" y="875"/>
                    </a:lnTo>
                    <a:lnTo>
                      <a:pt x="2" y="865"/>
                    </a:lnTo>
                    <a:lnTo>
                      <a:pt x="3" y="850"/>
                    </a:lnTo>
                    <a:lnTo>
                      <a:pt x="5" y="830"/>
                    </a:lnTo>
                    <a:lnTo>
                      <a:pt x="6" y="805"/>
                    </a:lnTo>
                    <a:lnTo>
                      <a:pt x="8" y="777"/>
                    </a:lnTo>
                    <a:lnTo>
                      <a:pt x="11" y="745"/>
                    </a:lnTo>
                    <a:lnTo>
                      <a:pt x="14" y="712"/>
                    </a:lnTo>
                    <a:lnTo>
                      <a:pt x="17" y="675"/>
                    </a:lnTo>
                    <a:lnTo>
                      <a:pt x="21" y="637"/>
                    </a:lnTo>
                    <a:lnTo>
                      <a:pt x="25" y="598"/>
                    </a:lnTo>
                    <a:lnTo>
                      <a:pt x="30" y="560"/>
                    </a:lnTo>
                    <a:lnTo>
                      <a:pt x="37" y="521"/>
                    </a:lnTo>
                    <a:lnTo>
                      <a:pt x="44" y="483"/>
                    </a:lnTo>
                    <a:lnTo>
                      <a:pt x="54" y="446"/>
                    </a:lnTo>
                    <a:lnTo>
                      <a:pt x="63" y="412"/>
                    </a:lnTo>
                    <a:lnTo>
                      <a:pt x="74" y="379"/>
                    </a:lnTo>
                    <a:lnTo>
                      <a:pt x="86" y="350"/>
                    </a:lnTo>
                    <a:lnTo>
                      <a:pt x="101" y="324"/>
                    </a:lnTo>
                    <a:lnTo>
                      <a:pt x="116" y="303"/>
                    </a:lnTo>
                    <a:lnTo>
                      <a:pt x="133" y="287"/>
                    </a:lnTo>
                    <a:lnTo>
                      <a:pt x="152" y="276"/>
                    </a:lnTo>
                    <a:lnTo>
                      <a:pt x="588" y="102"/>
                    </a:lnTo>
                    <a:lnTo>
                      <a:pt x="690" y="16"/>
                    </a:lnTo>
                    <a:lnTo>
                      <a:pt x="705" y="7"/>
                    </a:lnTo>
                    <a:lnTo>
                      <a:pt x="720" y="2"/>
                    </a:lnTo>
                    <a:lnTo>
                      <a:pt x="737" y="0"/>
                    </a:lnTo>
                    <a:lnTo>
                      <a:pt x="753" y="3"/>
                    </a:lnTo>
                    <a:lnTo>
                      <a:pt x="769" y="9"/>
                    </a:lnTo>
                    <a:lnTo>
                      <a:pt x="782" y="20"/>
                    </a:lnTo>
                    <a:lnTo>
                      <a:pt x="924" y="161"/>
                    </a:lnTo>
                    <a:lnTo>
                      <a:pt x="1067" y="20"/>
                    </a:lnTo>
                    <a:lnTo>
                      <a:pt x="1080" y="9"/>
                    </a:lnTo>
                    <a:lnTo>
                      <a:pt x="1095" y="3"/>
                    </a:lnTo>
                    <a:lnTo>
                      <a:pt x="111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177" name="Freeform 63"/>
            <p:cNvSpPr>
              <a:spLocks noChangeAspect="1" noEditPoints="1"/>
            </p:cNvSpPr>
            <p:nvPr/>
          </p:nvSpPr>
          <p:spPr bwMode="auto">
            <a:xfrm>
              <a:off x="1568624" y="1675544"/>
              <a:ext cx="320235" cy="324309"/>
            </a:xfrm>
            <a:custGeom>
              <a:avLst/>
              <a:gdLst>
                <a:gd name="T0" fmla="*/ 2147483647 w 3929"/>
                <a:gd name="T1" fmla="*/ 2147483647 h 3980"/>
                <a:gd name="T2" fmla="*/ 2147483647 w 3929"/>
                <a:gd name="T3" fmla="*/ 2147483647 h 3980"/>
                <a:gd name="T4" fmla="*/ 2147483647 w 3929"/>
                <a:gd name="T5" fmla="*/ 2147483647 h 3980"/>
                <a:gd name="T6" fmla="*/ 2147483647 w 3929"/>
                <a:gd name="T7" fmla="*/ 2147483647 h 3980"/>
                <a:gd name="T8" fmla="*/ 2147483647 w 3929"/>
                <a:gd name="T9" fmla="*/ 2147483647 h 3980"/>
                <a:gd name="T10" fmla="*/ 2147483647 w 3929"/>
                <a:gd name="T11" fmla="*/ 2147483647 h 3980"/>
                <a:gd name="T12" fmla="*/ 2147483647 w 3929"/>
                <a:gd name="T13" fmla="*/ 2147483647 h 3980"/>
                <a:gd name="T14" fmla="*/ 2147483647 w 3929"/>
                <a:gd name="T15" fmla="*/ 2147483647 h 3980"/>
                <a:gd name="T16" fmla="*/ 2147483647 w 3929"/>
                <a:gd name="T17" fmla="*/ 2147483647 h 3980"/>
                <a:gd name="T18" fmla="*/ 2147483647 w 3929"/>
                <a:gd name="T19" fmla="*/ 2147483647 h 3980"/>
                <a:gd name="T20" fmla="*/ 2147483647 w 3929"/>
                <a:gd name="T21" fmla="*/ 2147483647 h 3980"/>
                <a:gd name="T22" fmla="*/ 2147483647 w 3929"/>
                <a:gd name="T23" fmla="*/ 2147483647 h 3980"/>
                <a:gd name="T24" fmla="*/ 2147483647 w 3929"/>
                <a:gd name="T25" fmla="*/ 2147483647 h 3980"/>
                <a:gd name="T26" fmla="*/ 2147483647 w 3929"/>
                <a:gd name="T27" fmla="*/ 2147483647 h 3980"/>
                <a:gd name="T28" fmla="*/ 2147483647 w 3929"/>
                <a:gd name="T29" fmla="*/ 2147483647 h 3980"/>
                <a:gd name="T30" fmla="*/ 2147483647 w 3929"/>
                <a:gd name="T31" fmla="*/ 2147483647 h 3980"/>
                <a:gd name="T32" fmla="*/ 2147483647 w 3929"/>
                <a:gd name="T33" fmla="*/ 2147483647 h 3980"/>
                <a:gd name="T34" fmla="*/ 2147483647 w 3929"/>
                <a:gd name="T35" fmla="*/ 2147483647 h 3980"/>
                <a:gd name="T36" fmla="*/ 2147483647 w 3929"/>
                <a:gd name="T37" fmla="*/ 2147483647 h 3980"/>
                <a:gd name="T38" fmla="*/ 2147483647 w 3929"/>
                <a:gd name="T39" fmla="*/ 2147483647 h 3980"/>
                <a:gd name="T40" fmla="*/ 2147483647 w 3929"/>
                <a:gd name="T41" fmla="*/ 2147483647 h 3980"/>
                <a:gd name="T42" fmla="*/ 2147483647 w 3929"/>
                <a:gd name="T43" fmla="*/ 2147483647 h 3980"/>
                <a:gd name="T44" fmla="*/ 2147483647 w 3929"/>
                <a:gd name="T45" fmla="*/ 2147483647 h 3980"/>
                <a:gd name="T46" fmla="*/ 2147483647 w 3929"/>
                <a:gd name="T47" fmla="*/ 2147483647 h 3980"/>
                <a:gd name="T48" fmla="*/ 2147483647 w 3929"/>
                <a:gd name="T49" fmla="*/ 2147483647 h 3980"/>
                <a:gd name="T50" fmla="*/ 2147483647 w 3929"/>
                <a:gd name="T51" fmla="*/ 2147483647 h 3980"/>
                <a:gd name="T52" fmla="*/ 2147483647 w 3929"/>
                <a:gd name="T53" fmla="*/ 2147483647 h 3980"/>
                <a:gd name="T54" fmla="*/ 2147483647 w 3929"/>
                <a:gd name="T55" fmla="*/ 2147483647 h 3980"/>
                <a:gd name="T56" fmla="*/ 2147483647 w 3929"/>
                <a:gd name="T57" fmla="*/ 2147483647 h 3980"/>
                <a:gd name="T58" fmla="*/ 2147483647 w 3929"/>
                <a:gd name="T59" fmla="*/ 2147483647 h 3980"/>
                <a:gd name="T60" fmla="*/ 2147483647 w 3929"/>
                <a:gd name="T61" fmla="*/ 2147483647 h 3980"/>
                <a:gd name="T62" fmla="*/ 2147483647 w 3929"/>
                <a:gd name="T63" fmla="*/ 2147483647 h 3980"/>
                <a:gd name="T64" fmla="*/ 2147483647 w 3929"/>
                <a:gd name="T65" fmla="*/ 2147483647 h 3980"/>
                <a:gd name="T66" fmla="*/ 2147483647 w 3929"/>
                <a:gd name="T67" fmla="*/ 2147483647 h 3980"/>
                <a:gd name="T68" fmla="*/ 2147483647 w 3929"/>
                <a:gd name="T69" fmla="*/ 2147483647 h 3980"/>
                <a:gd name="T70" fmla="*/ 2147483647 w 3929"/>
                <a:gd name="T71" fmla="*/ 2147483647 h 3980"/>
                <a:gd name="T72" fmla="*/ 2147483647 w 3929"/>
                <a:gd name="T73" fmla="*/ 2147483647 h 3980"/>
                <a:gd name="T74" fmla="*/ 2147483647 w 3929"/>
                <a:gd name="T75" fmla="*/ 2147483647 h 3980"/>
                <a:gd name="T76" fmla="*/ 2147483647 w 3929"/>
                <a:gd name="T77" fmla="*/ 2147483647 h 3980"/>
                <a:gd name="T78" fmla="*/ 2147483647 w 3929"/>
                <a:gd name="T79" fmla="*/ 2147483647 h 3980"/>
                <a:gd name="T80" fmla="*/ 2147483647 w 3929"/>
                <a:gd name="T81" fmla="*/ 2147483647 h 3980"/>
                <a:gd name="T82" fmla="*/ 2147483647 w 3929"/>
                <a:gd name="T83" fmla="*/ 2147483647 h 3980"/>
                <a:gd name="T84" fmla="*/ 2147483647 w 3929"/>
                <a:gd name="T85" fmla="*/ 2147483647 h 3980"/>
                <a:gd name="T86" fmla="*/ 2147483647 w 3929"/>
                <a:gd name="T87" fmla="*/ 2147483647 h 3980"/>
                <a:gd name="T88" fmla="*/ 2147483647 w 3929"/>
                <a:gd name="T89" fmla="*/ 2147483647 h 3980"/>
                <a:gd name="T90" fmla="*/ 2147483647 w 3929"/>
                <a:gd name="T91" fmla="*/ 2147483647 h 3980"/>
                <a:gd name="T92" fmla="*/ 2147483647 w 3929"/>
                <a:gd name="T93" fmla="*/ 2147483647 h 3980"/>
                <a:gd name="T94" fmla="*/ 2147483647 w 3929"/>
                <a:gd name="T95" fmla="*/ 2147483647 h 3980"/>
                <a:gd name="T96" fmla="*/ 2147483647 w 3929"/>
                <a:gd name="T97" fmla="*/ 2147483647 h 3980"/>
                <a:gd name="T98" fmla="*/ 2147483647 w 3929"/>
                <a:gd name="T99" fmla="*/ 2147483647 h 3980"/>
                <a:gd name="T100" fmla="*/ 2147483647 w 3929"/>
                <a:gd name="T101" fmla="*/ 2147483647 h 3980"/>
                <a:gd name="T102" fmla="*/ 2147483647 w 3929"/>
                <a:gd name="T103" fmla="*/ 2147483647 h 3980"/>
                <a:gd name="T104" fmla="*/ 2147483647 w 3929"/>
                <a:gd name="T105" fmla="*/ 2147483647 h 3980"/>
                <a:gd name="T106" fmla="*/ 2147483647 w 3929"/>
                <a:gd name="T107" fmla="*/ 2147483647 h 3980"/>
                <a:gd name="T108" fmla="*/ 2147483647 w 3929"/>
                <a:gd name="T109" fmla="*/ 2147483647 h 3980"/>
                <a:gd name="T110" fmla="*/ 2147483647 w 3929"/>
                <a:gd name="T111" fmla="*/ 2147483647 h 3980"/>
                <a:gd name="T112" fmla="*/ 2147483647 w 3929"/>
                <a:gd name="T113" fmla="*/ 2147483647 h 3980"/>
                <a:gd name="T114" fmla="*/ 2147483647 w 3929"/>
                <a:gd name="T115" fmla="*/ 2147483647 h 3980"/>
                <a:gd name="T116" fmla="*/ 2147483647 w 3929"/>
                <a:gd name="T117" fmla="*/ 2147483647 h 3980"/>
                <a:gd name="T118" fmla="*/ 2147483647 w 3929"/>
                <a:gd name="T119" fmla="*/ 2147483647 h 3980"/>
                <a:gd name="T120" fmla="*/ 2147483647 w 3929"/>
                <a:gd name="T121" fmla="*/ 2147483647 h 3980"/>
                <a:gd name="T122" fmla="*/ 2147483647 w 3929"/>
                <a:gd name="T123" fmla="*/ 2147483647 h 39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29"/>
                <a:gd name="T187" fmla="*/ 0 h 3980"/>
                <a:gd name="T188" fmla="*/ 3929 w 3929"/>
                <a:gd name="T189" fmla="*/ 3980 h 39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29" h="3980">
                  <a:moveTo>
                    <a:pt x="2009" y="1404"/>
                  </a:moveTo>
                  <a:lnTo>
                    <a:pt x="1963" y="1407"/>
                  </a:lnTo>
                  <a:lnTo>
                    <a:pt x="1919" y="1414"/>
                  </a:lnTo>
                  <a:lnTo>
                    <a:pt x="1878" y="1426"/>
                  </a:lnTo>
                  <a:lnTo>
                    <a:pt x="1839" y="1444"/>
                  </a:lnTo>
                  <a:lnTo>
                    <a:pt x="1801" y="1466"/>
                  </a:lnTo>
                  <a:lnTo>
                    <a:pt x="1753" y="1501"/>
                  </a:lnTo>
                  <a:lnTo>
                    <a:pt x="1709" y="1543"/>
                  </a:lnTo>
                  <a:lnTo>
                    <a:pt x="1669" y="1588"/>
                  </a:lnTo>
                  <a:lnTo>
                    <a:pt x="1632" y="1639"/>
                  </a:lnTo>
                  <a:lnTo>
                    <a:pt x="1598" y="1694"/>
                  </a:lnTo>
                  <a:lnTo>
                    <a:pt x="1569" y="1754"/>
                  </a:lnTo>
                  <a:lnTo>
                    <a:pt x="1544" y="1817"/>
                  </a:lnTo>
                  <a:lnTo>
                    <a:pt x="1523" y="1883"/>
                  </a:lnTo>
                  <a:lnTo>
                    <a:pt x="1506" y="1952"/>
                  </a:lnTo>
                  <a:lnTo>
                    <a:pt x="1494" y="2020"/>
                  </a:lnTo>
                  <a:lnTo>
                    <a:pt x="1487" y="2088"/>
                  </a:lnTo>
                  <a:lnTo>
                    <a:pt x="1485" y="2155"/>
                  </a:lnTo>
                  <a:lnTo>
                    <a:pt x="1487" y="2200"/>
                  </a:lnTo>
                  <a:lnTo>
                    <a:pt x="1493" y="2246"/>
                  </a:lnTo>
                  <a:lnTo>
                    <a:pt x="1501" y="2296"/>
                  </a:lnTo>
                  <a:lnTo>
                    <a:pt x="1512" y="2344"/>
                  </a:lnTo>
                  <a:lnTo>
                    <a:pt x="1529" y="2392"/>
                  </a:lnTo>
                  <a:lnTo>
                    <a:pt x="1551" y="2438"/>
                  </a:lnTo>
                  <a:lnTo>
                    <a:pt x="1571" y="2467"/>
                  </a:lnTo>
                  <a:lnTo>
                    <a:pt x="1592" y="2493"/>
                  </a:lnTo>
                  <a:lnTo>
                    <a:pt x="1618" y="2516"/>
                  </a:lnTo>
                  <a:lnTo>
                    <a:pt x="1644" y="2537"/>
                  </a:lnTo>
                  <a:lnTo>
                    <a:pt x="1674" y="2552"/>
                  </a:lnTo>
                  <a:lnTo>
                    <a:pt x="1707" y="2563"/>
                  </a:lnTo>
                  <a:lnTo>
                    <a:pt x="1746" y="2570"/>
                  </a:lnTo>
                  <a:lnTo>
                    <a:pt x="1789" y="2573"/>
                  </a:lnTo>
                  <a:lnTo>
                    <a:pt x="1836" y="2570"/>
                  </a:lnTo>
                  <a:lnTo>
                    <a:pt x="1878" y="2565"/>
                  </a:lnTo>
                  <a:lnTo>
                    <a:pt x="1919" y="2555"/>
                  </a:lnTo>
                  <a:lnTo>
                    <a:pt x="1957" y="2542"/>
                  </a:lnTo>
                  <a:lnTo>
                    <a:pt x="1992" y="2526"/>
                  </a:lnTo>
                  <a:lnTo>
                    <a:pt x="2025" y="2505"/>
                  </a:lnTo>
                  <a:lnTo>
                    <a:pt x="2066" y="2474"/>
                  </a:lnTo>
                  <a:lnTo>
                    <a:pt x="2102" y="2441"/>
                  </a:lnTo>
                  <a:lnTo>
                    <a:pt x="2137" y="2404"/>
                  </a:lnTo>
                  <a:lnTo>
                    <a:pt x="2167" y="2365"/>
                  </a:lnTo>
                  <a:lnTo>
                    <a:pt x="2196" y="2322"/>
                  </a:lnTo>
                  <a:lnTo>
                    <a:pt x="2226" y="2263"/>
                  </a:lnTo>
                  <a:lnTo>
                    <a:pt x="2253" y="2202"/>
                  </a:lnTo>
                  <a:lnTo>
                    <a:pt x="2276" y="2139"/>
                  </a:lnTo>
                  <a:lnTo>
                    <a:pt x="2295" y="2076"/>
                  </a:lnTo>
                  <a:lnTo>
                    <a:pt x="2309" y="2009"/>
                  </a:lnTo>
                  <a:lnTo>
                    <a:pt x="2319" y="1945"/>
                  </a:lnTo>
                  <a:lnTo>
                    <a:pt x="2327" y="1883"/>
                  </a:lnTo>
                  <a:lnTo>
                    <a:pt x="2329" y="1822"/>
                  </a:lnTo>
                  <a:lnTo>
                    <a:pt x="2328" y="1766"/>
                  </a:lnTo>
                  <a:lnTo>
                    <a:pt x="2322" y="1710"/>
                  </a:lnTo>
                  <a:lnTo>
                    <a:pt x="2311" y="1655"/>
                  </a:lnTo>
                  <a:lnTo>
                    <a:pt x="2301" y="1619"/>
                  </a:lnTo>
                  <a:lnTo>
                    <a:pt x="2289" y="1586"/>
                  </a:lnTo>
                  <a:lnTo>
                    <a:pt x="2274" y="1554"/>
                  </a:lnTo>
                  <a:lnTo>
                    <a:pt x="2256" y="1523"/>
                  </a:lnTo>
                  <a:lnTo>
                    <a:pt x="2237" y="1499"/>
                  </a:lnTo>
                  <a:lnTo>
                    <a:pt x="2215" y="1475"/>
                  </a:lnTo>
                  <a:lnTo>
                    <a:pt x="2191" y="1455"/>
                  </a:lnTo>
                  <a:lnTo>
                    <a:pt x="2164" y="1437"/>
                  </a:lnTo>
                  <a:lnTo>
                    <a:pt x="2132" y="1423"/>
                  </a:lnTo>
                  <a:lnTo>
                    <a:pt x="2096" y="1413"/>
                  </a:lnTo>
                  <a:lnTo>
                    <a:pt x="2055" y="1407"/>
                  </a:lnTo>
                  <a:lnTo>
                    <a:pt x="2009" y="1404"/>
                  </a:lnTo>
                  <a:close/>
                  <a:moveTo>
                    <a:pt x="2035" y="0"/>
                  </a:moveTo>
                  <a:lnTo>
                    <a:pt x="2035" y="0"/>
                  </a:lnTo>
                  <a:lnTo>
                    <a:pt x="2155" y="3"/>
                  </a:lnTo>
                  <a:lnTo>
                    <a:pt x="2273" y="11"/>
                  </a:lnTo>
                  <a:lnTo>
                    <a:pt x="2390" y="27"/>
                  </a:lnTo>
                  <a:lnTo>
                    <a:pt x="2505" y="48"/>
                  </a:lnTo>
                  <a:lnTo>
                    <a:pt x="2620" y="76"/>
                  </a:lnTo>
                  <a:lnTo>
                    <a:pt x="2733" y="112"/>
                  </a:lnTo>
                  <a:lnTo>
                    <a:pt x="2829" y="145"/>
                  </a:lnTo>
                  <a:lnTo>
                    <a:pt x="2922" y="183"/>
                  </a:lnTo>
                  <a:lnTo>
                    <a:pt x="3012" y="225"/>
                  </a:lnTo>
                  <a:lnTo>
                    <a:pt x="3099" y="271"/>
                  </a:lnTo>
                  <a:lnTo>
                    <a:pt x="3184" y="322"/>
                  </a:lnTo>
                  <a:lnTo>
                    <a:pt x="3264" y="376"/>
                  </a:lnTo>
                  <a:lnTo>
                    <a:pt x="3342" y="436"/>
                  </a:lnTo>
                  <a:lnTo>
                    <a:pt x="3416" y="500"/>
                  </a:lnTo>
                  <a:lnTo>
                    <a:pt x="3486" y="568"/>
                  </a:lnTo>
                  <a:lnTo>
                    <a:pt x="3552" y="642"/>
                  </a:lnTo>
                  <a:lnTo>
                    <a:pt x="3613" y="719"/>
                  </a:lnTo>
                  <a:lnTo>
                    <a:pt x="3670" y="802"/>
                  </a:lnTo>
                  <a:lnTo>
                    <a:pt x="3722" y="888"/>
                  </a:lnTo>
                  <a:lnTo>
                    <a:pt x="3770" y="978"/>
                  </a:lnTo>
                  <a:lnTo>
                    <a:pt x="3807" y="1061"/>
                  </a:lnTo>
                  <a:lnTo>
                    <a:pt x="3840" y="1147"/>
                  </a:lnTo>
                  <a:lnTo>
                    <a:pt x="3867" y="1237"/>
                  </a:lnTo>
                  <a:lnTo>
                    <a:pt x="3889" y="1331"/>
                  </a:lnTo>
                  <a:lnTo>
                    <a:pt x="3907" y="1428"/>
                  </a:lnTo>
                  <a:lnTo>
                    <a:pt x="3920" y="1528"/>
                  </a:lnTo>
                  <a:lnTo>
                    <a:pt x="3927" y="1631"/>
                  </a:lnTo>
                  <a:lnTo>
                    <a:pt x="3929" y="1738"/>
                  </a:lnTo>
                  <a:lnTo>
                    <a:pt x="3927" y="1842"/>
                  </a:lnTo>
                  <a:lnTo>
                    <a:pt x="3921" y="1943"/>
                  </a:lnTo>
                  <a:lnTo>
                    <a:pt x="3909" y="2041"/>
                  </a:lnTo>
                  <a:lnTo>
                    <a:pt x="3891" y="2134"/>
                  </a:lnTo>
                  <a:lnTo>
                    <a:pt x="3869" y="2224"/>
                  </a:lnTo>
                  <a:lnTo>
                    <a:pt x="3844" y="2310"/>
                  </a:lnTo>
                  <a:lnTo>
                    <a:pt x="3813" y="2391"/>
                  </a:lnTo>
                  <a:lnTo>
                    <a:pt x="3779" y="2468"/>
                  </a:lnTo>
                  <a:lnTo>
                    <a:pt x="3741" y="2541"/>
                  </a:lnTo>
                  <a:lnTo>
                    <a:pt x="3700" y="2608"/>
                  </a:lnTo>
                  <a:lnTo>
                    <a:pt x="3656" y="2673"/>
                  </a:lnTo>
                  <a:lnTo>
                    <a:pt x="3610" y="2733"/>
                  </a:lnTo>
                  <a:lnTo>
                    <a:pt x="3558" y="2789"/>
                  </a:lnTo>
                  <a:lnTo>
                    <a:pt x="3504" y="2839"/>
                  </a:lnTo>
                  <a:lnTo>
                    <a:pt x="3447" y="2886"/>
                  </a:lnTo>
                  <a:lnTo>
                    <a:pt x="3388" y="2927"/>
                  </a:lnTo>
                  <a:lnTo>
                    <a:pt x="3326" y="2964"/>
                  </a:lnTo>
                  <a:lnTo>
                    <a:pt x="3261" y="2996"/>
                  </a:lnTo>
                  <a:lnTo>
                    <a:pt x="3181" y="3027"/>
                  </a:lnTo>
                  <a:lnTo>
                    <a:pt x="3099" y="3051"/>
                  </a:lnTo>
                  <a:lnTo>
                    <a:pt x="3016" y="3068"/>
                  </a:lnTo>
                  <a:lnTo>
                    <a:pt x="2931" y="3079"/>
                  </a:lnTo>
                  <a:lnTo>
                    <a:pt x="2844" y="3082"/>
                  </a:lnTo>
                  <a:lnTo>
                    <a:pt x="2778" y="3081"/>
                  </a:lnTo>
                  <a:lnTo>
                    <a:pt x="2717" y="3073"/>
                  </a:lnTo>
                  <a:lnTo>
                    <a:pt x="2658" y="3062"/>
                  </a:lnTo>
                  <a:lnTo>
                    <a:pt x="2606" y="3046"/>
                  </a:lnTo>
                  <a:lnTo>
                    <a:pt x="2557" y="3025"/>
                  </a:lnTo>
                  <a:lnTo>
                    <a:pt x="2511" y="3001"/>
                  </a:lnTo>
                  <a:lnTo>
                    <a:pt x="2471" y="2971"/>
                  </a:lnTo>
                  <a:lnTo>
                    <a:pt x="2436" y="2938"/>
                  </a:lnTo>
                  <a:lnTo>
                    <a:pt x="2402" y="2903"/>
                  </a:lnTo>
                  <a:lnTo>
                    <a:pt x="2376" y="2866"/>
                  </a:lnTo>
                  <a:lnTo>
                    <a:pt x="2352" y="2825"/>
                  </a:lnTo>
                  <a:lnTo>
                    <a:pt x="2314" y="2862"/>
                  </a:lnTo>
                  <a:lnTo>
                    <a:pt x="2270" y="2898"/>
                  </a:lnTo>
                  <a:lnTo>
                    <a:pt x="2224" y="2932"/>
                  </a:lnTo>
                  <a:lnTo>
                    <a:pt x="2177" y="2962"/>
                  </a:lnTo>
                  <a:lnTo>
                    <a:pt x="2126" y="2990"/>
                  </a:lnTo>
                  <a:lnTo>
                    <a:pt x="2072" y="3014"/>
                  </a:lnTo>
                  <a:lnTo>
                    <a:pt x="2016" y="3038"/>
                  </a:lnTo>
                  <a:lnTo>
                    <a:pt x="1954" y="3057"/>
                  </a:lnTo>
                  <a:lnTo>
                    <a:pt x="1889" y="3071"/>
                  </a:lnTo>
                  <a:lnTo>
                    <a:pt x="1821" y="3079"/>
                  </a:lnTo>
                  <a:lnTo>
                    <a:pt x="1751" y="3082"/>
                  </a:lnTo>
                  <a:lnTo>
                    <a:pt x="1675" y="3079"/>
                  </a:lnTo>
                  <a:lnTo>
                    <a:pt x="1602" y="3071"/>
                  </a:lnTo>
                  <a:lnTo>
                    <a:pt x="1531" y="3055"/>
                  </a:lnTo>
                  <a:lnTo>
                    <a:pt x="1463" y="3035"/>
                  </a:lnTo>
                  <a:lnTo>
                    <a:pt x="1398" y="3008"/>
                  </a:lnTo>
                  <a:lnTo>
                    <a:pt x="1337" y="2978"/>
                  </a:lnTo>
                  <a:lnTo>
                    <a:pt x="1280" y="2942"/>
                  </a:lnTo>
                  <a:lnTo>
                    <a:pt x="1226" y="2902"/>
                  </a:lnTo>
                  <a:lnTo>
                    <a:pt x="1177" y="2857"/>
                  </a:lnTo>
                  <a:lnTo>
                    <a:pt x="1133" y="2809"/>
                  </a:lnTo>
                  <a:lnTo>
                    <a:pt x="1092" y="2758"/>
                  </a:lnTo>
                  <a:lnTo>
                    <a:pt x="1056" y="2701"/>
                  </a:lnTo>
                  <a:lnTo>
                    <a:pt x="1024" y="2643"/>
                  </a:lnTo>
                  <a:lnTo>
                    <a:pt x="994" y="2579"/>
                  </a:lnTo>
                  <a:lnTo>
                    <a:pt x="970" y="2511"/>
                  </a:lnTo>
                  <a:lnTo>
                    <a:pt x="950" y="2443"/>
                  </a:lnTo>
                  <a:lnTo>
                    <a:pt x="936" y="2371"/>
                  </a:lnTo>
                  <a:lnTo>
                    <a:pt x="924" y="2296"/>
                  </a:lnTo>
                  <a:lnTo>
                    <a:pt x="917" y="2220"/>
                  </a:lnTo>
                  <a:lnTo>
                    <a:pt x="915" y="2143"/>
                  </a:lnTo>
                  <a:lnTo>
                    <a:pt x="918" y="2051"/>
                  </a:lnTo>
                  <a:lnTo>
                    <a:pt x="927" y="1959"/>
                  </a:lnTo>
                  <a:lnTo>
                    <a:pt x="943" y="1869"/>
                  </a:lnTo>
                  <a:lnTo>
                    <a:pt x="964" y="1779"/>
                  </a:lnTo>
                  <a:lnTo>
                    <a:pt x="992" y="1690"/>
                  </a:lnTo>
                  <a:lnTo>
                    <a:pt x="1018" y="1621"/>
                  </a:lnTo>
                  <a:lnTo>
                    <a:pt x="1047" y="1555"/>
                  </a:lnTo>
                  <a:lnTo>
                    <a:pt x="1081" y="1490"/>
                  </a:lnTo>
                  <a:lnTo>
                    <a:pt x="1118" y="1426"/>
                  </a:lnTo>
                  <a:lnTo>
                    <a:pt x="1158" y="1366"/>
                  </a:lnTo>
                  <a:lnTo>
                    <a:pt x="1202" y="1309"/>
                  </a:lnTo>
                  <a:lnTo>
                    <a:pt x="1228" y="1279"/>
                  </a:lnTo>
                  <a:lnTo>
                    <a:pt x="1254" y="1251"/>
                  </a:lnTo>
                  <a:lnTo>
                    <a:pt x="1310" y="1194"/>
                  </a:lnTo>
                  <a:lnTo>
                    <a:pt x="1369" y="1140"/>
                  </a:lnTo>
                  <a:lnTo>
                    <a:pt x="1433" y="1093"/>
                  </a:lnTo>
                  <a:lnTo>
                    <a:pt x="1499" y="1048"/>
                  </a:lnTo>
                  <a:lnTo>
                    <a:pt x="1567" y="1010"/>
                  </a:lnTo>
                  <a:lnTo>
                    <a:pt x="1640" y="977"/>
                  </a:lnTo>
                  <a:lnTo>
                    <a:pt x="1714" y="951"/>
                  </a:lnTo>
                  <a:lnTo>
                    <a:pt x="1790" y="932"/>
                  </a:lnTo>
                  <a:lnTo>
                    <a:pt x="1869" y="919"/>
                  </a:lnTo>
                  <a:lnTo>
                    <a:pt x="1948" y="915"/>
                  </a:lnTo>
                  <a:lnTo>
                    <a:pt x="1990" y="915"/>
                  </a:lnTo>
                  <a:lnTo>
                    <a:pt x="2033" y="916"/>
                  </a:lnTo>
                  <a:lnTo>
                    <a:pt x="2077" y="921"/>
                  </a:lnTo>
                  <a:lnTo>
                    <a:pt x="2120" y="927"/>
                  </a:lnTo>
                  <a:lnTo>
                    <a:pt x="2162" y="935"/>
                  </a:lnTo>
                  <a:lnTo>
                    <a:pt x="2205" y="946"/>
                  </a:lnTo>
                  <a:lnTo>
                    <a:pt x="2247" y="961"/>
                  </a:lnTo>
                  <a:lnTo>
                    <a:pt x="2286" y="977"/>
                  </a:lnTo>
                  <a:lnTo>
                    <a:pt x="2324" y="998"/>
                  </a:lnTo>
                  <a:lnTo>
                    <a:pt x="2358" y="1020"/>
                  </a:lnTo>
                  <a:lnTo>
                    <a:pt x="2391" y="1047"/>
                  </a:lnTo>
                  <a:lnTo>
                    <a:pt x="2421" y="1077"/>
                  </a:lnTo>
                  <a:lnTo>
                    <a:pt x="2445" y="1111"/>
                  </a:lnTo>
                  <a:lnTo>
                    <a:pt x="2466" y="1148"/>
                  </a:lnTo>
                  <a:lnTo>
                    <a:pt x="2483" y="1189"/>
                  </a:lnTo>
                  <a:lnTo>
                    <a:pt x="2484" y="1187"/>
                  </a:lnTo>
                  <a:lnTo>
                    <a:pt x="2486" y="1180"/>
                  </a:lnTo>
                  <a:lnTo>
                    <a:pt x="2489" y="1169"/>
                  </a:lnTo>
                  <a:lnTo>
                    <a:pt x="2493" y="1155"/>
                  </a:lnTo>
                  <a:lnTo>
                    <a:pt x="2498" y="1138"/>
                  </a:lnTo>
                  <a:lnTo>
                    <a:pt x="2503" y="1120"/>
                  </a:lnTo>
                  <a:lnTo>
                    <a:pt x="2515" y="1085"/>
                  </a:lnTo>
                  <a:lnTo>
                    <a:pt x="2533" y="1054"/>
                  </a:lnTo>
                  <a:lnTo>
                    <a:pt x="2558" y="1029"/>
                  </a:lnTo>
                  <a:lnTo>
                    <a:pt x="2586" y="1008"/>
                  </a:lnTo>
                  <a:lnTo>
                    <a:pt x="2618" y="992"/>
                  </a:lnTo>
                  <a:lnTo>
                    <a:pt x="2652" y="981"/>
                  </a:lnTo>
                  <a:lnTo>
                    <a:pt x="2688" y="978"/>
                  </a:lnTo>
                  <a:lnTo>
                    <a:pt x="2829" y="978"/>
                  </a:lnTo>
                  <a:lnTo>
                    <a:pt x="2865" y="981"/>
                  </a:lnTo>
                  <a:lnTo>
                    <a:pt x="2898" y="991"/>
                  </a:lnTo>
                  <a:lnTo>
                    <a:pt x="2930" y="1007"/>
                  </a:lnTo>
                  <a:lnTo>
                    <a:pt x="2957" y="1026"/>
                  </a:lnTo>
                  <a:lnTo>
                    <a:pt x="2979" y="1051"/>
                  </a:lnTo>
                  <a:lnTo>
                    <a:pt x="2999" y="1079"/>
                  </a:lnTo>
                  <a:lnTo>
                    <a:pt x="3012" y="1110"/>
                  </a:lnTo>
                  <a:lnTo>
                    <a:pt x="3020" y="1143"/>
                  </a:lnTo>
                  <a:lnTo>
                    <a:pt x="3022" y="1177"/>
                  </a:lnTo>
                  <a:lnTo>
                    <a:pt x="3018" y="1212"/>
                  </a:lnTo>
                  <a:lnTo>
                    <a:pt x="2998" y="1306"/>
                  </a:lnTo>
                  <a:lnTo>
                    <a:pt x="2977" y="1401"/>
                  </a:lnTo>
                  <a:lnTo>
                    <a:pt x="2957" y="1495"/>
                  </a:lnTo>
                  <a:lnTo>
                    <a:pt x="2902" y="1750"/>
                  </a:lnTo>
                  <a:lnTo>
                    <a:pt x="2848" y="2008"/>
                  </a:lnTo>
                  <a:lnTo>
                    <a:pt x="2831" y="2087"/>
                  </a:lnTo>
                  <a:lnTo>
                    <a:pt x="2813" y="2165"/>
                  </a:lnTo>
                  <a:lnTo>
                    <a:pt x="2798" y="2245"/>
                  </a:lnTo>
                  <a:lnTo>
                    <a:pt x="2787" y="2326"/>
                  </a:lnTo>
                  <a:lnTo>
                    <a:pt x="2786" y="2347"/>
                  </a:lnTo>
                  <a:lnTo>
                    <a:pt x="2783" y="2369"/>
                  </a:lnTo>
                  <a:lnTo>
                    <a:pt x="2782" y="2393"/>
                  </a:lnTo>
                  <a:lnTo>
                    <a:pt x="2782" y="2418"/>
                  </a:lnTo>
                  <a:lnTo>
                    <a:pt x="2782" y="2443"/>
                  </a:lnTo>
                  <a:lnTo>
                    <a:pt x="2784" y="2467"/>
                  </a:lnTo>
                  <a:lnTo>
                    <a:pt x="2788" y="2490"/>
                  </a:lnTo>
                  <a:lnTo>
                    <a:pt x="2796" y="2512"/>
                  </a:lnTo>
                  <a:lnTo>
                    <a:pt x="2805" y="2532"/>
                  </a:lnTo>
                  <a:lnTo>
                    <a:pt x="2819" y="2548"/>
                  </a:lnTo>
                  <a:lnTo>
                    <a:pt x="2836" y="2563"/>
                  </a:lnTo>
                  <a:lnTo>
                    <a:pt x="2858" y="2573"/>
                  </a:lnTo>
                  <a:lnTo>
                    <a:pt x="2892" y="2580"/>
                  </a:lnTo>
                  <a:lnTo>
                    <a:pt x="2928" y="2582"/>
                  </a:lnTo>
                  <a:lnTo>
                    <a:pt x="2964" y="2580"/>
                  </a:lnTo>
                  <a:lnTo>
                    <a:pt x="3001" y="2573"/>
                  </a:lnTo>
                  <a:lnTo>
                    <a:pt x="3037" y="2560"/>
                  </a:lnTo>
                  <a:lnTo>
                    <a:pt x="3071" y="2546"/>
                  </a:lnTo>
                  <a:lnTo>
                    <a:pt x="3102" y="2527"/>
                  </a:lnTo>
                  <a:lnTo>
                    <a:pt x="3142" y="2495"/>
                  </a:lnTo>
                  <a:lnTo>
                    <a:pt x="3181" y="2458"/>
                  </a:lnTo>
                  <a:lnTo>
                    <a:pt x="3216" y="2416"/>
                  </a:lnTo>
                  <a:lnTo>
                    <a:pt x="3249" y="2368"/>
                  </a:lnTo>
                  <a:lnTo>
                    <a:pt x="3273" y="2322"/>
                  </a:lnTo>
                  <a:lnTo>
                    <a:pt x="3296" y="2274"/>
                  </a:lnTo>
                  <a:lnTo>
                    <a:pt x="3316" y="2222"/>
                  </a:lnTo>
                  <a:lnTo>
                    <a:pt x="3334" y="2165"/>
                  </a:lnTo>
                  <a:lnTo>
                    <a:pt x="3350" y="2107"/>
                  </a:lnTo>
                  <a:lnTo>
                    <a:pt x="3367" y="2026"/>
                  </a:lnTo>
                  <a:lnTo>
                    <a:pt x="3380" y="1944"/>
                  </a:lnTo>
                  <a:lnTo>
                    <a:pt x="3387" y="1858"/>
                  </a:lnTo>
                  <a:lnTo>
                    <a:pt x="3389" y="1770"/>
                  </a:lnTo>
                  <a:lnTo>
                    <a:pt x="3387" y="1684"/>
                  </a:lnTo>
                  <a:lnTo>
                    <a:pt x="3381" y="1601"/>
                  </a:lnTo>
                  <a:lnTo>
                    <a:pt x="3371" y="1521"/>
                  </a:lnTo>
                  <a:lnTo>
                    <a:pt x="3358" y="1444"/>
                  </a:lnTo>
                  <a:lnTo>
                    <a:pt x="3339" y="1370"/>
                  </a:lnTo>
                  <a:lnTo>
                    <a:pt x="3316" y="1299"/>
                  </a:lnTo>
                  <a:lnTo>
                    <a:pt x="3290" y="1231"/>
                  </a:lnTo>
                  <a:lnTo>
                    <a:pt x="3253" y="1156"/>
                  </a:lnTo>
                  <a:lnTo>
                    <a:pt x="3214" y="1086"/>
                  </a:lnTo>
                  <a:lnTo>
                    <a:pt x="3170" y="1019"/>
                  </a:lnTo>
                  <a:lnTo>
                    <a:pt x="3121" y="956"/>
                  </a:lnTo>
                  <a:lnTo>
                    <a:pt x="3069" y="899"/>
                  </a:lnTo>
                  <a:lnTo>
                    <a:pt x="3011" y="843"/>
                  </a:lnTo>
                  <a:lnTo>
                    <a:pt x="2950" y="793"/>
                  </a:lnTo>
                  <a:lnTo>
                    <a:pt x="2886" y="746"/>
                  </a:lnTo>
                  <a:lnTo>
                    <a:pt x="2818" y="705"/>
                  </a:lnTo>
                  <a:lnTo>
                    <a:pt x="2745" y="667"/>
                  </a:lnTo>
                  <a:lnTo>
                    <a:pt x="2668" y="634"/>
                  </a:lnTo>
                  <a:lnTo>
                    <a:pt x="2589" y="607"/>
                  </a:lnTo>
                  <a:lnTo>
                    <a:pt x="2504" y="582"/>
                  </a:lnTo>
                  <a:lnTo>
                    <a:pt x="2416" y="562"/>
                  </a:lnTo>
                  <a:lnTo>
                    <a:pt x="2325" y="546"/>
                  </a:lnTo>
                  <a:lnTo>
                    <a:pt x="2231" y="535"/>
                  </a:lnTo>
                  <a:lnTo>
                    <a:pt x="2134" y="528"/>
                  </a:lnTo>
                  <a:lnTo>
                    <a:pt x="2035" y="526"/>
                  </a:lnTo>
                  <a:lnTo>
                    <a:pt x="1929" y="529"/>
                  </a:lnTo>
                  <a:lnTo>
                    <a:pt x="1824" y="539"/>
                  </a:lnTo>
                  <a:lnTo>
                    <a:pt x="1724" y="554"/>
                  </a:lnTo>
                  <a:lnTo>
                    <a:pt x="1626" y="576"/>
                  </a:lnTo>
                  <a:lnTo>
                    <a:pt x="1533" y="604"/>
                  </a:lnTo>
                  <a:lnTo>
                    <a:pt x="1442" y="638"/>
                  </a:lnTo>
                  <a:lnTo>
                    <a:pt x="1357" y="678"/>
                  </a:lnTo>
                  <a:lnTo>
                    <a:pt x="1275" y="722"/>
                  </a:lnTo>
                  <a:lnTo>
                    <a:pt x="1196" y="772"/>
                  </a:lnTo>
                  <a:lnTo>
                    <a:pt x="1123" y="826"/>
                  </a:lnTo>
                  <a:lnTo>
                    <a:pt x="1053" y="885"/>
                  </a:lnTo>
                  <a:lnTo>
                    <a:pt x="988" y="949"/>
                  </a:lnTo>
                  <a:lnTo>
                    <a:pt x="936" y="1007"/>
                  </a:lnTo>
                  <a:lnTo>
                    <a:pt x="887" y="1067"/>
                  </a:lnTo>
                  <a:lnTo>
                    <a:pt x="841" y="1131"/>
                  </a:lnTo>
                  <a:lnTo>
                    <a:pt x="800" y="1198"/>
                  </a:lnTo>
                  <a:lnTo>
                    <a:pt x="760" y="1268"/>
                  </a:lnTo>
                  <a:lnTo>
                    <a:pt x="726" y="1342"/>
                  </a:lnTo>
                  <a:lnTo>
                    <a:pt x="694" y="1418"/>
                  </a:lnTo>
                  <a:lnTo>
                    <a:pt x="662" y="1509"/>
                  </a:lnTo>
                  <a:lnTo>
                    <a:pt x="636" y="1604"/>
                  </a:lnTo>
                  <a:lnTo>
                    <a:pt x="615" y="1702"/>
                  </a:lnTo>
                  <a:lnTo>
                    <a:pt x="600" y="1803"/>
                  </a:lnTo>
                  <a:lnTo>
                    <a:pt x="591" y="1906"/>
                  </a:lnTo>
                  <a:lnTo>
                    <a:pt x="589" y="2011"/>
                  </a:lnTo>
                  <a:lnTo>
                    <a:pt x="590" y="2106"/>
                  </a:lnTo>
                  <a:lnTo>
                    <a:pt x="598" y="2198"/>
                  </a:lnTo>
                  <a:lnTo>
                    <a:pt x="609" y="2289"/>
                  </a:lnTo>
                  <a:lnTo>
                    <a:pt x="623" y="2376"/>
                  </a:lnTo>
                  <a:lnTo>
                    <a:pt x="644" y="2461"/>
                  </a:lnTo>
                  <a:lnTo>
                    <a:pt x="669" y="2542"/>
                  </a:lnTo>
                  <a:lnTo>
                    <a:pt x="698" y="2620"/>
                  </a:lnTo>
                  <a:lnTo>
                    <a:pt x="735" y="2706"/>
                  </a:lnTo>
                  <a:lnTo>
                    <a:pt x="779" y="2790"/>
                  </a:lnTo>
                  <a:lnTo>
                    <a:pt x="827" y="2867"/>
                  </a:lnTo>
                  <a:lnTo>
                    <a:pt x="879" y="2942"/>
                  </a:lnTo>
                  <a:lnTo>
                    <a:pt x="937" y="3011"/>
                  </a:lnTo>
                  <a:lnTo>
                    <a:pt x="998" y="3076"/>
                  </a:lnTo>
                  <a:lnTo>
                    <a:pt x="1064" y="3136"/>
                  </a:lnTo>
                  <a:lnTo>
                    <a:pt x="1135" y="3191"/>
                  </a:lnTo>
                  <a:lnTo>
                    <a:pt x="1211" y="3241"/>
                  </a:lnTo>
                  <a:lnTo>
                    <a:pt x="1291" y="3288"/>
                  </a:lnTo>
                  <a:lnTo>
                    <a:pt x="1375" y="3329"/>
                  </a:lnTo>
                  <a:lnTo>
                    <a:pt x="1462" y="3365"/>
                  </a:lnTo>
                  <a:lnTo>
                    <a:pt x="1554" y="3396"/>
                  </a:lnTo>
                  <a:lnTo>
                    <a:pt x="1649" y="3422"/>
                  </a:lnTo>
                  <a:lnTo>
                    <a:pt x="1750" y="3442"/>
                  </a:lnTo>
                  <a:lnTo>
                    <a:pt x="1853" y="3456"/>
                  </a:lnTo>
                  <a:lnTo>
                    <a:pt x="1960" y="3465"/>
                  </a:lnTo>
                  <a:lnTo>
                    <a:pt x="2071" y="3467"/>
                  </a:lnTo>
                  <a:lnTo>
                    <a:pt x="2176" y="3465"/>
                  </a:lnTo>
                  <a:lnTo>
                    <a:pt x="2278" y="3459"/>
                  </a:lnTo>
                  <a:lnTo>
                    <a:pt x="2376" y="3449"/>
                  </a:lnTo>
                  <a:lnTo>
                    <a:pt x="2470" y="3434"/>
                  </a:lnTo>
                  <a:lnTo>
                    <a:pt x="2560" y="3416"/>
                  </a:lnTo>
                  <a:lnTo>
                    <a:pt x="2647" y="3392"/>
                  </a:lnTo>
                  <a:lnTo>
                    <a:pt x="2731" y="3367"/>
                  </a:lnTo>
                  <a:lnTo>
                    <a:pt x="2810" y="3336"/>
                  </a:lnTo>
                  <a:lnTo>
                    <a:pt x="2833" y="3329"/>
                  </a:lnTo>
                  <a:lnTo>
                    <a:pt x="2858" y="3327"/>
                  </a:lnTo>
                  <a:lnTo>
                    <a:pt x="2882" y="3332"/>
                  </a:lnTo>
                  <a:lnTo>
                    <a:pt x="2907" y="3341"/>
                  </a:lnTo>
                  <a:lnTo>
                    <a:pt x="2930" y="3354"/>
                  </a:lnTo>
                  <a:lnTo>
                    <a:pt x="2952" y="3372"/>
                  </a:lnTo>
                  <a:lnTo>
                    <a:pt x="2974" y="3392"/>
                  </a:lnTo>
                  <a:lnTo>
                    <a:pt x="2994" y="3416"/>
                  </a:lnTo>
                  <a:lnTo>
                    <a:pt x="3012" y="3442"/>
                  </a:lnTo>
                  <a:lnTo>
                    <a:pt x="3028" y="3471"/>
                  </a:lnTo>
                  <a:lnTo>
                    <a:pt x="3043" y="3500"/>
                  </a:lnTo>
                  <a:lnTo>
                    <a:pt x="3055" y="3531"/>
                  </a:lnTo>
                  <a:lnTo>
                    <a:pt x="3065" y="3564"/>
                  </a:lnTo>
                  <a:lnTo>
                    <a:pt x="3071" y="3596"/>
                  </a:lnTo>
                  <a:lnTo>
                    <a:pt x="3075" y="3628"/>
                  </a:lnTo>
                  <a:lnTo>
                    <a:pt x="3075" y="3660"/>
                  </a:lnTo>
                  <a:lnTo>
                    <a:pt x="3071" y="3689"/>
                  </a:lnTo>
                  <a:lnTo>
                    <a:pt x="3064" y="3719"/>
                  </a:lnTo>
                  <a:lnTo>
                    <a:pt x="3053" y="3746"/>
                  </a:lnTo>
                  <a:lnTo>
                    <a:pt x="3037" y="3769"/>
                  </a:lnTo>
                  <a:lnTo>
                    <a:pt x="3016" y="3791"/>
                  </a:lnTo>
                  <a:lnTo>
                    <a:pt x="2990" y="3810"/>
                  </a:lnTo>
                  <a:lnTo>
                    <a:pt x="2960" y="3823"/>
                  </a:lnTo>
                  <a:lnTo>
                    <a:pt x="2854" y="3860"/>
                  </a:lnTo>
                  <a:lnTo>
                    <a:pt x="2745" y="3893"/>
                  </a:lnTo>
                  <a:lnTo>
                    <a:pt x="2634" y="3920"/>
                  </a:lnTo>
                  <a:lnTo>
                    <a:pt x="2519" y="3942"/>
                  </a:lnTo>
                  <a:lnTo>
                    <a:pt x="2402" y="3959"/>
                  </a:lnTo>
                  <a:lnTo>
                    <a:pt x="2282" y="3970"/>
                  </a:lnTo>
                  <a:lnTo>
                    <a:pt x="2160" y="3978"/>
                  </a:lnTo>
                  <a:lnTo>
                    <a:pt x="2035" y="3980"/>
                  </a:lnTo>
                  <a:lnTo>
                    <a:pt x="1908" y="3978"/>
                  </a:lnTo>
                  <a:lnTo>
                    <a:pt x="1783" y="3968"/>
                  </a:lnTo>
                  <a:lnTo>
                    <a:pt x="1662" y="3953"/>
                  </a:lnTo>
                  <a:lnTo>
                    <a:pt x="1543" y="3931"/>
                  </a:lnTo>
                  <a:lnTo>
                    <a:pt x="1427" y="3904"/>
                  </a:lnTo>
                  <a:lnTo>
                    <a:pt x="1315" y="3871"/>
                  </a:lnTo>
                  <a:lnTo>
                    <a:pt x="1206" y="3833"/>
                  </a:lnTo>
                  <a:lnTo>
                    <a:pt x="1102" y="3789"/>
                  </a:lnTo>
                  <a:lnTo>
                    <a:pt x="1000" y="3740"/>
                  </a:lnTo>
                  <a:lnTo>
                    <a:pt x="905" y="3686"/>
                  </a:lnTo>
                  <a:lnTo>
                    <a:pt x="813" y="3627"/>
                  </a:lnTo>
                  <a:lnTo>
                    <a:pt x="725" y="3563"/>
                  </a:lnTo>
                  <a:lnTo>
                    <a:pt x="642" y="3494"/>
                  </a:lnTo>
                  <a:lnTo>
                    <a:pt x="563" y="3422"/>
                  </a:lnTo>
                  <a:lnTo>
                    <a:pt x="489" y="3345"/>
                  </a:lnTo>
                  <a:lnTo>
                    <a:pt x="419" y="3262"/>
                  </a:lnTo>
                  <a:lnTo>
                    <a:pt x="354" y="3176"/>
                  </a:lnTo>
                  <a:lnTo>
                    <a:pt x="294" y="3086"/>
                  </a:lnTo>
                  <a:lnTo>
                    <a:pt x="240" y="2991"/>
                  </a:lnTo>
                  <a:lnTo>
                    <a:pt x="191" y="2893"/>
                  </a:lnTo>
                  <a:lnTo>
                    <a:pt x="147" y="2791"/>
                  </a:lnTo>
                  <a:lnTo>
                    <a:pt x="111" y="2699"/>
                  </a:lnTo>
                  <a:lnTo>
                    <a:pt x="82" y="2605"/>
                  </a:lnTo>
                  <a:lnTo>
                    <a:pt x="56" y="2509"/>
                  </a:lnTo>
                  <a:lnTo>
                    <a:pt x="36" y="2409"/>
                  </a:lnTo>
                  <a:lnTo>
                    <a:pt x="20" y="2309"/>
                  </a:lnTo>
                  <a:lnTo>
                    <a:pt x="9" y="2206"/>
                  </a:lnTo>
                  <a:lnTo>
                    <a:pt x="2" y="2101"/>
                  </a:lnTo>
                  <a:lnTo>
                    <a:pt x="0" y="1995"/>
                  </a:lnTo>
                  <a:lnTo>
                    <a:pt x="2" y="1890"/>
                  </a:lnTo>
                  <a:lnTo>
                    <a:pt x="10" y="1786"/>
                  </a:lnTo>
                  <a:lnTo>
                    <a:pt x="22" y="1684"/>
                  </a:lnTo>
                  <a:lnTo>
                    <a:pt x="40" y="1583"/>
                  </a:lnTo>
                  <a:lnTo>
                    <a:pt x="62" y="1484"/>
                  </a:lnTo>
                  <a:lnTo>
                    <a:pt x="91" y="1388"/>
                  </a:lnTo>
                  <a:lnTo>
                    <a:pt x="122" y="1294"/>
                  </a:lnTo>
                  <a:lnTo>
                    <a:pt x="159" y="1203"/>
                  </a:lnTo>
                  <a:lnTo>
                    <a:pt x="207" y="1101"/>
                  </a:lnTo>
                  <a:lnTo>
                    <a:pt x="261" y="1003"/>
                  </a:lnTo>
                  <a:lnTo>
                    <a:pt x="318" y="908"/>
                  </a:lnTo>
                  <a:lnTo>
                    <a:pt x="381" y="818"/>
                  </a:lnTo>
                  <a:lnTo>
                    <a:pt x="448" y="730"/>
                  </a:lnTo>
                  <a:lnTo>
                    <a:pt x="520" y="648"/>
                  </a:lnTo>
                  <a:lnTo>
                    <a:pt x="598" y="571"/>
                  </a:lnTo>
                  <a:lnTo>
                    <a:pt x="678" y="497"/>
                  </a:lnTo>
                  <a:lnTo>
                    <a:pt x="763" y="429"/>
                  </a:lnTo>
                  <a:lnTo>
                    <a:pt x="851" y="364"/>
                  </a:lnTo>
                  <a:lnTo>
                    <a:pt x="944" y="303"/>
                  </a:lnTo>
                  <a:lnTo>
                    <a:pt x="1041" y="248"/>
                  </a:lnTo>
                  <a:lnTo>
                    <a:pt x="1141" y="197"/>
                  </a:lnTo>
                  <a:lnTo>
                    <a:pt x="1244" y="150"/>
                  </a:lnTo>
                  <a:lnTo>
                    <a:pt x="1352" y="111"/>
                  </a:lnTo>
                  <a:lnTo>
                    <a:pt x="1461" y="78"/>
                  </a:lnTo>
                  <a:lnTo>
                    <a:pt x="1572" y="49"/>
                  </a:lnTo>
                  <a:lnTo>
                    <a:pt x="1685" y="27"/>
                  </a:lnTo>
                  <a:lnTo>
                    <a:pt x="1800" y="13"/>
                  </a:lnTo>
                  <a:lnTo>
                    <a:pt x="1916" y="3"/>
                  </a:lnTo>
                  <a:lnTo>
                    <a:pt x="203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84" name="Rectangle 83"/>
          <p:cNvSpPr/>
          <p:nvPr/>
        </p:nvSpPr>
        <p:spPr>
          <a:xfrm>
            <a:off x="531485" y="2428330"/>
            <a:ext cx="433729" cy="242823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pl-PL" sz="1517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pSp>
        <p:nvGrpSpPr>
          <p:cNvPr id="85" name="Group 256"/>
          <p:cNvGrpSpPr/>
          <p:nvPr/>
        </p:nvGrpSpPr>
        <p:grpSpPr>
          <a:xfrm>
            <a:off x="675186" y="2453845"/>
            <a:ext cx="168693" cy="233984"/>
            <a:chOff x="611813" y="5189682"/>
            <a:chExt cx="251950" cy="349464"/>
          </a:xfrm>
        </p:grpSpPr>
        <p:grpSp>
          <p:nvGrpSpPr>
            <p:cNvPr id="86" name="Group 1239"/>
            <p:cNvGrpSpPr/>
            <p:nvPr/>
          </p:nvGrpSpPr>
          <p:grpSpPr>
            <a:xfrm>
              <a:off x="825980" y="5283088"/>
              <a:ext cx="37783" cy="157455"/>
              <a:chOff x="-1" y="-1"/>
              <a:chExt cx="307334" cy="1280773"/>
            </a:xfrm>
          </p:grpSpPr>
          <p:sp>
            <p:nvSpPr>
              <p:cNvPr id="152" name="Shape 1236"/>
              <p:cNvSpPr/>
              <p:nvPr/>
            </p:nvSpPr>
            <p:spPr>
              <a:xfrm>
                <a:off x="-1" y="-1"/>
                <a:ext cx="307334" cy="307334"/>
              </a:xfrm>
              <a:prstGeom prst="ellipse">
                <a:avLst/>
              </a:prstGeom>
              <a:solidFill>
                <a:schemeClr val="bg1"/>
              </a:solidFill>
              <a:ln w="25400" cap="flat">
                <a:noFill/>
                <a:prstDash val="solid"/>
                <a:bevel/>
              </a:ln>
              <a:effectLst/>
              <a:extLst>
                <a:ext uri="{91240B29-F687-4F45-9708-019B960494DF}">
                  <a14:hiddenLine xmlns:a14="http://schemas.microsoft.com/office/drawing/2010/main" w="25400" cap="flat">
                    <a:solidFill>
                      <a:schemeClr val="accent1"/>
                    </a:solidFill>
                    <a:prstDash val="solid"/>
                    <a:bevel/>
                  </a14:hiddenLine>
                </a:ext>
              </a:extLst>
            </p:spPr>
            <p:txBody>
              <a:bodyPr wrap="square" lIns="99058" tIns="99058" rIns="99058" bIns="99058" numCol="1" anchor="t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 sz="1950">
                  <a:solidFill>
                    <a:srgbClr val="FFFFFF"/>
                  </a:solidFill>
                  <a:latin typeface="Calibri" panose="020F0502020204030204" pitchFamily="34" charset="0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153" name="image3.jpeg"/>
              <p:cNvPicPr>
                <a:picLocks noChangeAspect="1"/>
              </p:cNvPicPr>
              <p:nvPr/>
            </p:nvPicPr>
            <p:blipFill>
              <a:blip r:embed="rId8" cstate="print">
                <a:extLst/>
              </a:blip>
              <a:srcRect l="16666" t="638" r="16561" b="301"/>
              <a:stretch>
                <a:fillRect/>
              </a:stretch>
            </p:blipFill>
            <p:spPr>
              <a:xfrm>
                <a:off x="51147" y="90950"/>
                <a:ext cx="84535" cy="12541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749" y="0"/>
                    </a:moveTo>
                    <a:cubicBezTo>
                      <a:pt x="9155" y="123"/>
                      <a:pt x="8374" y="333"/>
                      <a:pt x="7200" y="752"/>
                    </a:cubicBezTo>
                    <a:cubicBezTo>
                      <a:pt x="4136" y="1846"/>
                      <a:pt x="2453" y="3969"/>
                      <a:pt x="2434" y="6835"/>
                    </a:cubicBezTo>
                    <a:cubicBezTo>
                      <a:pt x="2423" y="8448"/>
                      <a:pt x="2204" y="8849"/>
                      <a:pt x="1217" y="9023"/>
                    </a:cubicBezTo>
                    <a:cubicBezTo>
                      <a:pt x="89" y="9222"/>
                      <a:pt x="0" y="9570"/>
                      <a:pt x="0" y="15038"/>
                    </a:cubicBezTo>
                    <a:lnTo>
                      <a:pt x="0" y="20848"/>
                    </a:lnTo>
                    <a:lnTo>
                      <a:pt x="2941" y="20848"/>
                    </a:lnTo>
                    <a:cubicBezTo>
                      <a:pt x="4569" y="20848"/>
                      <a:pt x="6084" y="21036"/>
                      <a:pt x="6287" y="21258"/>
                    </a:cubicBezTo>
                    <a:cubicBezTo>
                      <a:pt x="6426" y="21409"/>
                      <a:pt x="8055" y="21531"/>
                      <a:pt x="10749" y="21600"/>
                    </a:cubicBezTo>
                    <a:cubicBezTo>
                      <a:pt x="13443" y="21531"/>
                      <a:pt x="15174" y="21409"/>
                      <a:pt x="15313" y="21258"/>
                    </a:cubicBezTo>
                    <a:cubicBezTo>
                      <a:pt x="15516" y="21036"/>
                      <a:pt x="16930" y="20848"/>
                      <a:pt x="18558" y="20848"/>
                    </a:cubicBezTo>
                    <a:lnTo>
                      <a:pt x="21600" y="20848"/>
                    </a:lnTo>
                    <a:lnTo>
                      <a:pt x="21600" y="15038"/>
                    </a:lnTo>
                    <a:cubicBezTo>
                      <a:pt x="21600" y="9570"/>
                      <a:pt x="21511" y="9222"/>
                      <a:pt x="20383" y="9023"/>
                    </a:cubicBezTo>
                    <a:cubicBezTo>
                      <a:pt x="19396" y="8849"/>
                      <a:pt x="19177" y="8448"/>
                      <a:pt x="19166" y="6835"/>
                    </a:cubicBezTo>
                    <a:cubicBezTo>
                      <a:pt x="19147" y="3969"/>
                      <a:pt x="17464" y="1846"/>
                      <a:pt x="14400" y="752"/>
                    </a:cubicBezTo>
                    <a:cubicBezTo>
                      <a:pt x="13226" y="333"/>
                      <a:pt x="12344" y="123"/>
                      <a:pt x="10749" y="0"/>
                    </a:cubicBezTo>
                    <a:close/>
                    <a:moveTo>
                      <a:pt x="10749" y="1641"/>
                    </a:moveTo>
                    <a:cubicBezTo>
                      <a:pt x="11328" y="1642"/>
                      <a:pt x="11995" y="1802"/>
                      <a:pt x="12879" y="2051"/>
                    </a:cubicBezTo>
                    <a:cubicBezTo>
                      <a:pt x="15782" y="2868"/>
                      <a:pt x="16855" y="4196"/>
                      <a:pt x="16631" y="6562"/>
                    </a:cubicBezTo>
                    <a:lnTo>
                      <a:pt x="16428" y="8544"/>
                    </a:lnTo>
                    <a:lnTo>
                      <a:pt x="11054" y="8681"/>
                    </a:lnTo>
                    <a:cubicBezTo>
                      <a:pt x="8071" y="8744"/>
                      <a:pt x="5403" y="8632"/>
                      <a:pt x="5172" y="8476"/>
                    </a:cubicBezTo>
                    <a:cubicBezTo>
                      <a:pt x="4361" y="7929"/>
                      <a:pt x="4802" y="4496"/>
                      <a:pt x="5780" y="3554"/>
                    </a:cubicBezTo>
                    <a:cubicBezTo>
                      <a:pt x="6318" y="3037"/>
                      <a:pt x="7611" y="2363"/>
                      <a:pt x="8721" y="2051"/>
                    </a:cubicBezTo>
                    <a:cubicBezTo>
                      <a:pt x="9591" y="1806"/>
                      <a:pt x="10171" y="1639"/>
                      <a:pt x="10749" y="1641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flat">
                <a:noFill/>
                <a:miter lim="400000"/>
              </a:ln>
              <a:effectLst/>
              <a:extLst>
                <a:ext uri="{91240B29-F687-4F45-9708-019B960494DF}">
                  <a14:hiddenLine xmlns:a14="http://schemas.microsoft.com/office/drawing/2010/main" w="12700" cap="flat">
                    <a:noFill/>
                    <a:miter lim="400000"/>
                  </a14:hiddenLine>
                </a:ext>
              </a:extLst>
            </p:spPr>
          </p:pic>
          <p:sp>
            <p:nvSpPr>
              <p:cNvPr id="154" name="Shape 1238"/>
              <p:cNvSpPr/>
              <p:nvPr/>
            </p:nvSpPr>
            <p:spPr>
              <a:xfrm>
                <a:off x="150094" y="65566"/>
                <a:ext cx="90264" cy="1215206"/>
              </a:xfrm>
              <a:prstGeom prst="rect">
                <a:avLst/>
              </a:prstGeom>
              <a:solidFill>
                <a:schemeClr val="bg1"/>
              </a:solidFill>
              <a:ln w="12700" cap="flat">
                <a:noFill/>
                <a:miter lim="400000"/>
              </a:ln>
              <a:effectLst/>
              <a:extLst>
                <a:ext uri="{91240B29-F687-4F45-9708-019B960494DF}">
                  <a14:hiddenLine xmlns:a14="http://schemas.microsoft.com/office/drawing/2010/main" w="12700" cap="flat">
                    <a:noFill/>
                    <a:miter lim="400000"/>
                  </a14:hiddenLine>
                </a:ex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spAutoFit/>
              </a:bodyPr>
              <a:lstStyle>
                <a:lvl1pPr>
                  <a:defRPr sz="1200" b="1"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r>
                  <a:rPr sz="65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#</a:t>
                </a:r>
              </a:p>
            </p:txBody>
          </p:sp>
        </p:grpSp>
        <p:grpSp>
          <p:nvGrpSpPr>
            <p:cNvPr id="87" name="Group 250"/>
            <p:cNvGrpSpPr/>
            <p:nvPr/>
          </p:nvGrpSpPr>
          <p:grpSpPr>
            <a:xfrm>
              <a:off x="611813" y="5189682"/>
              <a:ext cx="216356" cy="197228"/>
              <a:chOff x="611813" y="5189682"/>
              <a:chExt cx="216356" cy="197228"/>
            </a:xfrm>
          </p:grpSpPr>
          <p:sp>
            <p:nvSpPr>
              <p:cNvPr id="92" name="Shape 1038"/>
              <p:cNvSpPr/>
              <p:nvPr/>
            </p:nvSpPr>
            <p:spPr>
              <a:xfrm>
                <a:off x="611813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93" name="Shape 1039"/>
              <p:cNvSpPr/>
              <p:nvPr/>
            </p:nvSpPr>
            <p:spPr>
              <a:xfrm>
                <a:off x="634124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94" name="Shape 1040"/>
              <p:cNvSpPr/>
              <p:nvPr/>
            </p:nvSpPr>
            <p:spPr>
              <a:xfrm>
                <a:off x="678745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95" name="Shape 1041"/>
              <p:cNvSpPr/>
              <p:nvPr/>
            </p:nvSpPr>
            <p:spPr>
              <a:xfrm>
                <a:off x="656434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96" name="Shape 1042"/>
              <p:cNvSpPr/>
              <p:nvPr/>
            </p:nvSpPr>
            <p:spPr>
              <a:xfrm>
                <a:off x="701056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97" name="Shape 1043"/>
              <p:cNvSpPr/>
              <p:nvPr/>
            </p:nvSpPr>
            <p:spPr>
              <a:xfrm>
                <a:off x="723367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98" name="Shape 1044"/>
              <p:cNvSpPr/>
              <p:nvPr/>
            </p:nvSpPr>
            <p:spPr>
              <a:xfrm>
                <a:off x="745677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99" name="Shape 1045"/>
              <p:cNvSpPr/>
              <p:nvPr/>
            </p:nvSpPr>
            <p:spPr>
              <a:xfrm>
                <a:off x="767988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0" name="Shape 1046"/>
              <p:cNvSpPr/>
              <p:nvPr/>
            </p:nvSpPr>
            <p:spPr>
              <a:xfrm>
                <a:off x="790299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1" name="Shape 1047"/>
              <p:cNvSpPr/>
              <p:nvPr/>
            </p:nvSpPr>
            <p:spPr>
              <a:xfrm>
                <a:off x="812610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2" name="Shape 1048"/>
              <p:cNvSpPr/>
              <p:nvPr/>
            </p:nvSpPr>
            <p:spPr>
              <a:xfrm>
                <a:off x="612028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3" name="Shape 1049"/>
              <p:cNvSpPr/>
              <p:nvPr/>
            </p:nvSpPr>
            <p:spPr>
              <a:xfrm>
                <a:off x="634339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4" name="Shape 1050"/>
              <p:cNvSpPr/>
              <p:nvPr/>
            </p:nvSpPr>
            <p:spPr>
              <a:xfrm>
                <a:off x="678960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5" name="Shape 1051"/>
              <p:cNvSpPr/>
              <p:nvPr/>
            </p:nvSpPr>
            <p:spPr>
              <a:xfrm>
                <a:off x="656649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6" name="Shape 1052"/>
              <p:cNvSpPr/>
              <p:nvPr/>
            </p:nvSpPr>
            <p:spPr>
              <a:xfrm>
                <a:off x="701271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7" name="Shape 1053"/>
              <p:cNvSpPr/>
              <p:nvPr/>
            </p:nvSpPr>
            <p:spPr>
              <a:xfrm>
                <a:off x="723582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8" name="Shape 1054"/>
              <p:cNvSpPr/>
              <p:nvPr/>
            </p:nvSpPr>
            <p:spPr>
              <a:xfrm>
                <a:off x="745892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9" name="Shape 1055"/>
              <p:cNvSpPr/>
              <p:nvPr/>
            </p:nvSpPr>
            <p:spPr>
              <a:xfrm>
                <a:off x="768203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0" name="Shape 1056"/>
              <p:cNvSpPr/>
              <p:nvPr/>
            </p:nvSpPr>
            <p:spPr>
              <a:xfrm>
                <a:off x="790514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1" name="Shape 1057"/>
              <p:cNvSpPr/>
              <p:nvPr/>
            </p:nvSpPr>
            <p:spPr>
              <a:xfrm>
                <a:off x="812825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2" name="Shape 1058"/>
              <p:cNvSpPr/>
              <p:nvPr/>
            </p:nvSpPr>
            <p:spPr>
              <a:xfrm>
                <a:off x="612028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3" name="Shape 1059"/>
              <p:cNvSpPr/>
              <p:nvPr/>
            </p:nvSpPr>
            <p:spPr>
              <a:xfrm>
                <a:off x="634339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4" name="Shape 1060"/>
              <p:cNvSpPr/>
              <p:nvPr/>
            </p:nvSpPr>
            <p:spPr>
              <a:xfrm>
                <a:off x="678960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5" name="Shape 1061"/>
              <p:cNvSpPr/>
              <p:nvPr/>
            </p:nvSpPr>
            <p:spPr>
              <a:xfrm>
                <a:off x="656649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6" name="Shape 1062"/>
              <p:cNvSpPr/>
              <p:nvPr/>
            </p:nvSpPr>
            <p:spPr>
              <a:xfrm>
                <a:off x="701271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7" name="Shape 1063"/>
              <p:cNvSpPr/>
              <p:nvPr/>
            </p:nvSpPr>
            <p:spPr>
              <a:xfrm>
                <a:off x="723582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8" name="Shape 1064"/>
              <p:cNvSpPr/>
              <p:nvPr/>
            </p:nvSpPr>
            <p:spPr>
              <a:xfrm>
                <a:off x="745892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9" name="Shape 1065"/>
              <p:cNvSpPr/>
              <p:nvPr/>
            </p:nvSpPr>
            <p:spPr>
              <a:xfrm>
                <a:off x="768203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0" name="Shape 1066"/>
              <p:cNvSpPr/>
              <p:nvPr/>
            </p:nvSpPr>
            <p:spPr>
              <a:xfrm>
                <a:off x="790514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1" name="Shape 1067"/>
              <p:cNvSpPr/>
              <p:nvPr/>
            </p:nvSpPr>
            <p:spPr>
              <a:xfrm>
                <a:off x="812825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2" name="Shape 1038"/>
              <p:cNvSpPr/>
              <p:nvPr/>
            </p:nvSpPr>
            <p:spPr>
              <a:xfrm>
                <a:off x="611813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3" name="Shape 1039"/>
              <p:cNvSpPr/>
              <p:nvPr/>
            </p:nvSpPr>
            <p:spPr>
              <a:xfrm>
                <a:off x="634124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4" name="Shape 1040"/>
              <p:cNvSpPr/>
              <p:nvPr/>
            </p:nvSpPr>
            <p:spPr>
              <a:xfrm>
                <a:off x="678745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5" name="Shape 1041"/>
              <p:cNvSpPr/>
              <p:nvPr/>
            </p:nvSpPr>
            <p:spPr>
              <a:xfrm>
                <a:off x="656434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6" name="Shape 1042"/>
              <p:cNvSpPr/>
              <p:nvPr/>
            </p:nvSpPr>
            <p:spPr>
              <a:xfrm>
                <a:off x="701056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7" name="Shape 1043"/>
              <p:cNvSpPr/>
              <p:nvPr/>
            </p:nvSpPr>
            <p:spPr>
              <a:xfrm>
                <a:off x="723367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8" name="Shape 1044"/>
              <p:cNvSpPr/>
              <p:nvPr/>
            </p:nvSpPr>
            <p:spPr>
              <a:xfrm>
                <a:off x="745677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9" name="Shape 1045"/>
              <p:cNvSpPr/>
              <p:nvPr/>
            </p:nvSpPr>
            <p:spPr>
              <a:xfrm>
                <a:off x="767988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0" name="Shape 1046"/>
              <p:cNvSpPr/>
              <p:nvPr/>
            </p:nvSpPr>
            <p:spPr>
              <a:xfrm>
                <a:off x="790299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1" name="Shape 1047"/>
              <p:cNvSpPr/>
              <p:nvPr/>
            </p:nvSpPr>
            <p:spPr>
              <a:xfrm>
                <a:off x="812610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2" name="Shape 1048"/>
              <p:cNvSpPr/>
              <p:nvPr/>
            </p:nvSpPr>
            <p:spPr>
              <a:xfrm>
                <a:off x="612028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3" name="Shape 1049"/>
              <p:cNvSpPr/>
              <p:nvPr/>
            </p:nvSpPr>
            <p:spPr>
              <a:xfrm>
                <a:off x="634339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4" name="Shape 1050"/>
              <p:cNvSpPr/>
              <p:nvPr/>
            </p:nvSpPr>
            <p:spPr>
              <a:xfrm>
                <a:off x="678960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5" name="Shape 1051"/>
              <p:cNvSpPr/>
              <p:nvPr/>
            </p:nvSpPr>
            <p:spPr>
              <a:xfrm>
                <a:off x="656649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6" name="Shape 1052"/>
              <p:cNvSpPr/>
              <p:nvPr/>
            </p:nvSpPr>
            <p:spPr>
              <a:xfrm>
                <a:off x="701271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7" name="Shape 1053"/>
              <p:cNvSpPr/>
              <p:nvPr/>
            </p:nvSpPr>
            <p:spPr>
              <a:xfrm>
                <a:off x="723582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8" name="Shape 1054"/>
              <p:cNvSpPr/>
              <p:nvPr/>
            </p:nvSpPr>
            <p:spPr>
              <a:xfrm>
                <a:off x="745892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9" name="Shape 1055"/>
              <p:cNvSpPr/>
              <p:nvPr/>
            </p:nvSpPr>
            <p:spPr>
              <a:xfrm>
                <a:off x="768203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0" name="Shape 1056"/>
              <p:cNvSpPr/>
              <p:nvPr/>
            </p:nvSpPr>
            <p:spPr>
              <a:xfrm>
                <a:off x="790514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1" name="Shape 1057"/>
              <p:cNvSpPr/>
              <p:nvPr/>
            </p:nvSpPr>
            <p:spPr>
              <a:xfrm>
                <a:off x="812825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2" name="Shape 1058"/>
              <p:cNvSpPr/>
              <p:nvPr/>
            </p:nvSpPr>
            <p:spPr>
              <a:xfrm>
                <a:off x="612028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3" name="Shape 1059"/>
              <p:cNvSpPr/>
              <p:nvPr/>
            </p:nvSpPr>
            <p:spPr>
              <a:xfrm>
                <a:off x="634339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4" name="Shape 1060"/>
              <p:cNvSpPr/>
              <p:nvPr/>
            </p:nvSpPr>
            <p:spPr>
              <a:xfrm>
                <a:off x="678960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5" name="Shape 1061"/>
              <p:cNvSpPr/>
              <p:nvPr/>
            </p:nvSpPr>
            <p:spPr>
              <a:xfrm>
                <a:off x="656649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6" name="Shape 1062"/>
              <p:cNvSpPr/>
              <p:nvPr/>
            </p:nvSpPr>
            <p:spPr>
              <a:xfrm>
                <a:off x="701271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7" name="Shape 1063"/>
              <p:cNvSpPr/>
              <p:nvPr/>
            </p:nvSpPr>
            <p:spPr>
              <a:xfrm>
                <a:off x="723582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8" name="Shape 1064"/>
              <p:cNvSpPr/>
              <p:nvPr/>
            </p:nvSpPr>
            <p:spPr>
              <a:xfrm>
                <a:off x="745892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9" name="Shape 1065"/>
              <p:cNvSpPr/>
              <p:nvPr/>
            </p:nvSpPr>
            <p:spPr>
              <a:xfrm>
                <a:off x="768203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50" name="Shape 1066"/>
              <p:cNvSpPr/>
              <p:nvPr/>
            </p:nvSpPr>
            <p:spPr>
              <a:xfrm>
                <a:off x="790514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51" name="Shape 1067"/>
              <p:cNvSpPr/>
              <p:nvPr/>
            </p:nvSpPr>
            <p:spPr>
              <a:xfrm>
                <a:off x="812825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</p:grpSp>
        <p:grpSp>
          <p:nvGrpSpPr>
            <p:cNvPr id="88" name="Group 1239"/>
            <p:cNvGrpSpPr/>
            <p:nvPr/>
          </p:nvGrpSpPr>
          <p:grpSpPr>
            <a:xfrm>
              <a:off x="825980" y="5381691"/>
              <a:ext cx="37783" cy="157455"/>
              <a:chOff x="-1" y="-1"/>
              <a:chExt cx="307334" cy="1280773"/>
            </a:xfrm>
          </p:grpSpPr>
          <p:sp>
            <p:nvSpPr>
              <p:cNvPr id="89" name="Shape 1236"/>
              <p:cNvSpPr/>
              <p:nvPr/>
            </p:nvSpPr>
            <p:spPr>
              <a:xfrm>
                <a:off x="-1" y="-1"/>
                <a:ext cx="307334" cy="307334"/>
              </a:xfrm>
              <a:prstGeom prst="ellipse">
                <a:avLst/>
              </a:prstGeom>
              <a:solidFill>
                <a:schemeClr val="bg1"/>
              </a:solidFill>
              <a:ln w="25400" cap="flat">
                <a:noFill/>
                <a:prstDash val="solid"/>
                <a:bevel/>
              </a:ln>
              <a:effectLst/>
              <a:extLst>
                <a:ext uri="{91240B29-F687-4F45-9708-019B960494DF}">
                  <a14:hiddenLine xmlns:a14="http://schemas.microsoft.com/office/drawing/2010/main" w="25400" cap="flat">
                    <a:solidFill>
                      <a:schemeClr val="accent1"/>
                    </a:solidFill>
                    <a:prstDash val="solid"/>
                    <a:bevel/>
                  </a14:hiddenLine>
                </a:ext>
              </a:extLst>
            </p:spPr>
            <p:txBody>
              <a:bodyPr wrap="square" lIns="99058" tIns="99058" rIns="99058" bIns="99058" numCol="1" anchor="t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 sz="1950">
                  <a:solidFill>
                    <a:srgbClr val="FFFFFF"/>
                  </a:solidFill>
                  <a:latin typeface="Calibri" panose="020F0502020204030204" pitchFamily="34" charset="0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90" name="image3.jpeg"/>
              <p:cNvPicPr>
                <a:picLocks noChangeAspect="1"/>
              </p:cNvPicPr>
              <p:nvPr/>
            </p:nvPicPr>
            <p:blipFill>
              <a:blip r:embed="rId8" cstate="print">
                <a:extLst/>
              </a:blip>
              <a:srcRect l="16666" t="638" r="16561" b="301"/>
              <a:stretch>
                <a:fillRect/>
              </a:stretch>
            </p:blipFill>
            <p:spPr>
              <a:xfrm>
                <a:off x="51147" y="90950"/>
                <a:ext cx="84535" cy="12541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749" y="0"/>
                    </a:moveTo>
                    <a:cubicBezTo>
                      <a:pt x="9155" y="123"/>
                      <a:pt x="8374" y="333"/>
                      <a:pt x="7200" y="752"/>
                    </a:cubicBezTo>
                    <a:cubicBezTo>
                      <a:pt x="4136" y="1846"/>
                      <a:pt x="2453" y="3969"/>
                      <a:pt x="2434" y="6835"/>
                    </a:cubicBezTo>
                    <a:cubicBezTo>
                      <a:pt x="2423" y="8448"/>
                      <a:pt x="2204" y="8849"/>
                      <a:pt x="1217" y="9023"/>
                    </a:cubicBezTo>
                    <a:cubicBezTo>
                      <a:pt x="89" y="9222"/>
                      <a:pt x="0" y="9570"/>
                      <a:pt x="0" y="15038"/>
                    </a:cubicBezTo>
                    <a:lnTo>
                      <a:pt x="0" y="20848"/>
                    </a:lnTo>
                    <a:lnTo>
                      <a:pt x="2941" y="20848"/>
                    </a:lnTo>
                    <a:cubicBezTo>
                      <a:pt x="4569" y="20848"/>
                      <a:pt x="6084" y="21036"/>
                      <a:pt x="6287" y="21258"/>
                    </a:cubicBezTo>
                    <a:cubicBezTo>
                      <a:pt x="6426" y="21409"/>
                      <a:pt x="8055" y="21531"/>
                      <a:pt x="10749" y="21600"/>
                    </a:cubicBezTo>
                    <a:cubicBezTo>
                      <a:pt x="13443" y="21531"/>
                      <a:pt x="15174" y="21409"/>
                      <a:pt x="15313" y="21258"/>
                    </a:cubicBezTo>
                    <a:cubicBezTo>
                      <a:pt x="15516" y="21036"/>
                      <a:pt x="16930" y="20848"/>
                      <a:pt x="18558" y="20848"/>
                    </a:cubicBezTo>
                    <a:lnTo>
                      <a:pt x="21600" y="20848"/>
                    </a:lnTo>
                    <a:lnTo>
                      <a:pt x="21600" y="15038"/>
                    </a:lnTo>
                    <a:cubicBezTo>
                      <a:pt x="21600" y="9570"/>
                      <a:pt x="21511" y="9222"/>
                      <a:pt x="20383" y="9023"/>
                    </a:cubicBezTo>
                    <a:cubicBezTo>
                      <a:pt x="19396" y="8849"/>
                      <a:pt x="19177" y="8448"/>
                      <a:pt x="19166" y="6835"/>
                    </a:cubicBezTo>
                    <a:cubicBezTo>
                      <a:pt x="19147" y="3969"/>
                      <a:pt x="17464" y="1846"/>
                      <a:pt x="14400" y="752"/>
                    </a:cubicBezTo>
                    <a:cubicBezTo>
                      <a:pt x="13226" y="333"/>
                      <a:pt x="12344" y="123"/>
                      <a:pt x="10749" y="0"/>
                    </a:cubicBezTo>
                    <a:close/>
                    <a:moveTo>
                      <a:pt x="10749" y="1641"/>
                    </a:moveTo>
                    <a:cubicBezTo>
                      <a:pt x="11328" y="1642"/>
                      <a:pt x="11995" y="1802"/>
                      <a:pt x="12879" y="2051"/>
                    </a:cubicBezTo>
                    <a:cubicBezTo>
                      <a:pt x="15782" y="2868"/>
                      <a:pt x="16855" y="4196"/>
                      <a:pt x="16631" y="6562"/>
                    </a:cubicBezTo>
                    <a:lnTo>
                      <a:pt x="16428" y="8544"/>
                    </a:lnTo>
                    <a:lnTo>
                      <a:pt x="11054" y="8681"/>
                    </a:lnTo>
                    <a:cubicBezTo>
                      <a:pt x="8071" y="8744"/>
                      <a:pt x="5403" y="8632"/>
                      <a:pt x="5172" y="8476"/>
                    </a:cubicBezTo>
                    <a:cubicBezTo>
                      <a:pt x="4361" y="7929"/>
                      <a:pt x="4802" y="4496"/>
                      <a:pt x="5780" y="3554"/>
                    </a:cubicBezTo>
                    <a:cubicBezTo>
                      <a:pt x="6318" y="3037"/>
                      <a:pt x="7611" y="2363"/>
                      <a:pt x="8721" y="2051"/>
                    </a:cubicBezTo>
                    <a:cubicBezTo>
                      <a:pt x="9591" y="1806"/>
                      <a:pt x="10171" y="1639"/>
                      <a:pt x="10749" y="1641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flat">
                <a:noFill/>
                <a:miter lim="400000"/>
              </a:ln>
              <a:effectLst/>
              <a:extLst>
                <a:ext uri="{91240B29-F687-4F45-9708-019B960494DF}">
                  <a14:hiddenLine xmlns:a14="http://schemas.microsoft.com/office/drawing/2010/main" w="12700" cap="flat">
                    <a:noFill/>
                    <a:miter lim="400000"/>
                  </a14:hiddenLine>
                </a:ext>
              </a:extLst>
            </p:spPr>
          </p:pic>
          <p:sp>
            <p:nvSpPr>
              <p:cNvPr id="91" name="Shape 1238"/>
              <p:cNvSpPr/>
              <p:nvPr/>
            </p:nvSpPr>
            <p:spPr>
              <a:xfrm>
                <a:off x="150094" y="65566"/>
                <a:ext cx="90264" cy="1215206"/>
              </a:xfrm>
              <a:prstGeom prst="rect">
                <a:avLst/>
              </a:prstGeom>
              <a:solidFill>
                <a:schemeClr val="bg1"/>
              </a:solidFill>
              <a:ln w="12700" cap="flat">
                <a:noFill/>
                <a:miter lim="400000"/>
              </a:ln>
              <a:effectLst/>
              <a:extLst>
                <a:ext uri="{91240B29-F687-4F45-9708-019B960494DF}">
                  <a14:hiddenLine xmlns:a14="http://schemas.microsoft.com/office/drawing/2010/main" w="12700" cap="flat">
                    <a:noFill/>
                    <a:miter lim="400000"/>
                  </a14:hiddenLine>
                </a:ex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spAutoFit/>
              </a:bodyPr>
              <a:lstStyle>
                <a:lvl1pPr>
                  <a:defRPr sz="1200" b="1"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r>
                  <a:rPr sz="65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#</a:t>
                </a:r>
              </a:p>
            </p:txBody>
          </p:sp>
        </p:grpSp>
      </p:grpSp>
      <p:sp>
        <p:nvSpPr>
          <p:cNvPr id="165" name="Rectangle 164"/>
          <p:cNvSpPr/>
          <p:nvPr/>
        </p:nvSpPr>
        <p:spPr>
          <a:xfrm>
            <a:off x="952448" y="2435597"/>
            <a:ext cx="8544168" cy="234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rgbClr val="0166B6">
                  <a:alpha val="15000"/>
                </a:srgbClr>
              </a:gs>
            </a:gsLst>
            <a:lin ang="10800000" scaled="0"/>
          </a:gradFill>
          <a:ln w="19050">
            <a:noFill/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dirty="0">
                <a:latin typeface="Calibri" panose="020F0502020204030204" pitchFamily="34" charset="0"/>
              </a:rPr>
              <a:t>Rejestry rozproszone</a:t>
            </a:r>
            <a:endParaRPr lang="en-US" altLang="pl-PL" sz="1083" b="1" dirty="0">
              <a:latin typeface="Calibri" panose="020F0502020204030204" pitchFamily="34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531485" y="2110524"/>
            <a:ext cx="433729" cy="242823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pl-PL" sz="1517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pSp>
        <p:nvGrpSpPr>
          <p:cNvPr id="56" name="Group 65"/>
          <p:cNvGrpSpPr/>
          <p:nvPr/>
        </p:nvGrpSpPr>
        <p:grpSpPr>
          <a:xfrm>
            <a:off x="597428" y="2136033"/>
            <a:ext cx="249935" cy="184194"/>
            <a:chOff x="629171" y="1176832"/>
            <a:chExt cx="647730" cy="541124"/>
          </a:xfrm>
        </p:grpSpPr>
        <p:sp>
          <p:nvSpPr>
            <p:cNvPr id="57" name="Freeform 55"/>
            <p:cNvSpPr>
              <a:spLocks noEditPoints="1"/>
            </p:cNvSpPr>
            <p:nvPr/>
          </p:nvSpPr>
          <p:spPr bwMode="auto">
            <a:xfrm>
              <a:off x="861191" y="1202194"/>
              <a:ext cx="415710" cy="514047"/>
            </a:xfrm>
            <a:custGeom>
              <a:avLst/>
              <a:gdLst>
                <a:gd name="T0" fmla="*/ 2147483647 w 3423"/>
                <a:gd name="T1" fmla="*/ 2147483647 h 3228"/>
                <a:gd name="T2" fmla="*/ 2147483647 w 3423"/>
                <a:gd name="T3" fmla="*/ 2147483647 h 3228"/>
                <a:gd name="T4" fmla="*/ 2147483647 w 3423"/>
                <a:gd name="T5" fmla="*/ 2147483647 h 3228"/>
                <a:gd name="T6" fmla="*/ 2147483647 w 3423"/>
                <a:gd name="T7" fmla="*/ 2147483647 h 3228"/>
                <a:gd name="T8" fmla="*/ 2147483647 w 3423"/>
                <a:gd name="T9" fmla="*/ 2147483647 h 3228"/>
                <a:gd name="T10" fmla="*/ 2147483647 w 3423"/>
                <a:gd name="T11" fmla="*/ 2147483647 h 3228"/>
                <a:gd name="T12" fmla="*/ 2147483647 w 3423"/>
                <a:gd name="T13" fmla="*/ 2147483647 h 3228"/>
                <a:gd name="T14" fmla="*/ 2147483647 w 3423"/>
                <a:gd name="T15" fmla="*/ 2147483647 h 3228"/>
                <a:gd name="T16" fmla="*/ 2147483647 w 3423"/>
                <a:gd name="T17" fmla="*/ 2147483647 h 3228"/>
                <a:gd name="T18" fmla="*/ 2147483647 w 3423"/>
                <a:gd name="T19" fmla="*/ 2147483647 h 3228"/>
                <a:gd name="T20" fmla="*/ 2147483647 w 3423"/>
                <a:gd name="T21" fmla="*/ 2147483647 h 3228"/>
                <a:gd name="T22" fmla="*/ 2147483647 w 3423"/>
                <a:gd name="T23" fmla="*/ 2147483647 h 3228"/>
                <a:gd name="T24" fmla="*/ 2147483647 w 3423"/>
                <a:gd name="T25" fmla="*/ 2147483647 h 3228"/>
                <a:gd name="T26" fmla="*/ 2147483647 w 3423"/>
                <a:gd name="T27" fmla="*/ 2147483647 h 3228"/>
                <a:gd name="T28" fmla="*/ 2147483647 w 3423"/>
                <a:gd name="T29" fmla="*/ 2147483647 h 3228"/>
                <a:gd name="T30" fmla="*/ 2147483647 w 3423"/>
                <a:gd name="T31" fmla="*/ 2147483647 h 3228"/>
                <a:gd name="T32" fmla="*/ 2147483647 w 3423"/>
                <a:gd name="T33" fmla="*/ 2147483647 h 3228"/>
                <a:gd name="T34" fmla="*/ 2147483647 w 3423"/>
                <a:gd name="T35" fmla="*/ 2147483647 h 3228"/>
                <a:gd name="T36" fmla="*/ 2147483647 w 3423"/>
                <a:gd name="T37" fmla="*/ 2147483647 h 3228"/>
                <a:gd name="T38" fmla="*/ 2147483647 w 3423"/>
                <a:gd name="T39" fmla="*/ 2147483647 h 3228"/>
                <a:gd name="T40" fmla="*/ 2147483647 w 3423"/>
                <a:gd name="T41" fmla="*/ 2147483647 h 3228"/>
                <a:gd name="T42" fmla="*/ 2147483647 w 3423"/>
                <a:gd name="T43" fmla="*/ 2147483647 h 3228"/>
                <a:gd name="T44" fmla="*/ 2147483647 w 3423"/>
                <a:gd name="T45" fmla="*/ 2147483647 h 3228"/>
                <a:gd name="T46" fmla="*/ 2147483647 w 3423"/>
                <a:gd name="T47" fmla="*/ 2147483647 h 3228"/>
                <a:gd name="T48" fmla="*/ 2147483647 w 3423"/>
                <a:gd name="T49" fmla="*/ 2147483647 h 3228"/>
                <a:gd name="T50" fmla="*/ 2147483647 w 3423"/>
                <a:gd name="T51" fmla="*/ 2147483647 h 3228"/>
                <a:gd name="T52" fmla="*/ 2147483647 w 3423"/>
                <a:gd name="T53" fmla="*/ 2147483647 h 3228"/>
                <a:gd name="T54" fmla="*/ 2147483647 w 3423"/>
                <a:gd name="T55" fmla="*/ 2147483647 h 3228"/>
                <a:gd name="T56" fmla="*/ 2147483647 w 3423"/>
                <a:gd name="T57" fmla="*/ 2147483647 h 3228"/>
                <a:gd name="T58" fmla="*/ 2147483647 w 3423"/>
                <a:gd name="T59" fmla="*/ 2147483647 h 3228"/>
                <a:gd name="T60" fmla="*/ 2147483647 w 3423"/>
                <a:gd name="T61" fmla="*/ 2147483647 h 3228"/>
                <a:gd name="T62" fmla="*/ 2147483647 w 3423"/>
                <a:gd name="T63" fmla="*/ 2147483647 h 3228"/>
                <a:gd name="T64" fmla="*/ 2147483647 w 3423"/>
                <a:gd name="T65" fmla="*/ 2147483647 h 3228"/>
                <a:gd name="T66" fmla="*/ 2147483647 w 3423"/>
                <a:gd name="T67" fmla="*/ 2147483647 h 3228"/>
                <a:gd name="T68" fmla="*/ 2147483647 w 3423"/>
                <a:gd name="T69" fmla="*/ 2147483647 h 3228"/>
                <a:gd name="T70" fmla="*/ 2147483647 w 3423"/>
                <a:gd name="T71" fmla="*/ 2147483647 h 3228"/>
                <a:gd name="T72" fmla="*/ 2147483647 w 3423"/>
                <a:gd name="T73" fmla="*/ 2147483647 h 3228"/>
                <a:gd name="T74" fmla="*/ 2147483647 w 3423"/>
                <a:gd name="T75" fmla="*/ 2147483647 h 3228"/>
                <a:gd name="T76" fmla="*/ 2147483647 w 3423"/>
                <a:gd name="T77" fmla="*/ 2147483647 h 3228"/>
                <a:gd name="T78" fmla="*/ 2147483647 w 3423"/>
                <a:gd name="T79" fmla="*/ 2147483647 h 3228"/>
                <a:gd name="T80" fmla="*/ 2147483647 w 3423"/>
                <a:gd name="T81" fmla="*/ 2147483647 h 3228"/>
                <a:gd name="T82" fmla="*/ 2147483647 w 3423"/>
                <a:gd name="T83" fmla="*/ 2147483647 h 3228"/>
                <a:gd name="T84" fmla="*/ 2147483647 w 3423"/>
                <a:gd name="T85" fmla="*/ 2147483647 h 3228"/>
                <a:gd name="T86" fmla="*/ 2147483647 w 3423"/>
                <a:gd name="T87" fmla="*/ 2147483647 h 3228"/>
                <a:gd name="T88" fmla="*/ 2147483647 w 3423"/>
                <a:gd name="T89" fmla="*/ 2147483647 h 3228"/>
                <a:gd name="T90" fmla="*/ 2147483647 w 3423"/>
                <a:gd name="T91" fmla="*/ 2147483647 h 3228"/>
                <a:gd name="T92" fmla="*/ 2147483647 w 3423"/>
                <a:gd name="T93" fmla="*/ 2147483647 h 3228"/>
                <a:gd name="T94" fmla="*/ 2147483647 w 3423"/>
                <a:gd name="T95" fmla="*/ 2147483647 h 3228"/>
                <a:gd name="T96" fmla="*/ 2147483647 w 3423"/>
                <a:gd name="T97" fmla="*/ 2147483647 h 3228"/>
                <a:gd name="T98" fmla="*/ 2147483647 w 3423"/>
                <a:gd name="T99" fmla="*/ 2147483647 h 3228"/>
                <a:gd name="T100" fmla="*/ 2147483647 w 3423"/>
                <a:gd name="T101" fmla="*/ 2147483647 h 3228"/>
                <a:gd name="T102" fmla="*/ 2147483647 w 3423"/>
                <a:gd name="T103" fmla="*/ 2147483647 h 3228"/>
                <a:gd name="T104" fmla="*/ 2147483647 w 3423"/>
                <a:gd name="T105" fmla="*/ 2147483647 h 322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423"/>
                <a:gd name="T160" fmla="*/ 0 h 3228"/>
                <a:gd name="T161" fmla="*/ 3423 w 3423"/>
                <a:gd name="T162" fmla="*/ 3228 h 322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423" h="3228">
                  <a:moveTo>
                    <a:pt x="2734" y="2179"/>
                  </a:moveTo>
                  <a:lnTo>
                    <a:pt x="2714" y="2182"/>
                  </a:lnTo>
                  <a:lnTo>
                    <a:pt x="2695" y="2190"/>
                  </a:lnTo>
                  <a:lnTo>
                    <a:pt x="2679" y="2202"/>
                  </a:lnTo>
                  <a:lnTo>
                    <a:pt x="2668" y="2218"/>
                  </a:lnTo>
                  <a:lnTo>
                    <a:pt x="2660" y="2236"/>
                  </a:lnTo>
                  <a:lnTo>
                    <a:pt x="2656" y="2257"/>
                  </a:lnTo>
                  <a:lnTo>
                    <a:pt x="2660" y="2278"/>
                  </a:lnTo>
                  <a:lnTo>
                    <a:pt x="2668" y="2297"/>
                  </a:lnTo>
                  <a:lnTo>
                    <a:pt x="2679" y="2312"/>
                  </a:lnTo>
                  <a:lnTo>
                    <a:pt x="2695" y="2325"/>
                  </a:lnTo>
                  <a:lnTo>
                    <a:pt x="2714" y="2332"/>
                  </a:lnTo>
                  <a:lnTo>
                    <a:pt x="2734" y="2335"/>
                  </a:lnTo>
                  <a:lnTo>
                    <a:pt x="2755" y="2332"/>
                  </a:lnTo>
                  <a:lnTo>
                    <a:pt x="2774" y="2325"/>
                  </a:lnTo>
                  <a:lnTo>
                    <a:pt x="2789" y="2312"/>
                  </a:lnTo>
                  <a:lnTo>
                    <a:pt x="2802" y="2297"/>
                  </a:lnTo>
                  <a:lnTo>
                    <a:pt x="2810" y="2278"/>
                  </a:lnTo>
                  <a:lnTo>
                    <a:pt x="2812" y="2257"/>
                  </a:lnTo>
                  <a:lnTo>
                    <a:pt x="2810" y="2236"/>
                  </a:lnTo>
                  <a:lnTo>
                    <a:pt x="2802" y="2218"/>
                  </a:lnTo>
                  <a:lnTo>
                    <a:pt x="2789" y="2202"/>
                  </a:lnTo>
                  <a:lnTo>
                    <a:pt x="2774" y="2190"/>
                  </a:lnTo>
                  <a:lnTo>
                    <a:pt x="2755" y="2182"/>
                  </a:lnTo>
                  <a:lnTo>
                    <a:pt x="2734" y="2179"/>
                  </a:lnTo>
                  <a:close/>
                  <a:moveTo>
                    <a:pt x="3079" y="2160"/>
                  </a:moveTo>
                  <a:lnTo>
                    <a:pt x="3057" y="2163"/>
                  </a:lnTo>
                  <a:lnTo>
                    <a:pt x="3036" y="2170"/>
                  </a:lnTo>
                  <a:lnTo>
                    <a:pt x="3018" y="2181"/>
                  </a:lnTo>
                  <a:lnTo>
                    <a:pt x="3003" y="2197"/>
                  </a:lnTo>
                  <a:lnTo>
                    <a:pt x="2991" y="2215"/>
                  </a:lnTo>
                  <a:lnTo>
                    <a:pt x="2984" y="2235"/>
                  </a:lnTo>
                  <a:lnTo>
                    <a:pt x="2982" y="2257"/>
                  </a:lnTo>
                  <a:lnTo>
                    <a:pt x="2984" y="2279"/>
                  </a:lnTo>
                  <a:lnTo>
                    <a:pt x="2991" y="2300"/>
                  </a:lnTo>
                  <a:lnTo>
                    <a:pt x="3003" y="2317"/>
                  </a:lnTo>
                  <a:lnTo>
                    <a:pt x="3018" y="2333"/>
                  </a:lnTo>
                  <a:lnTo>
                    <a:pt x="3036" y="2344"/>
                  </a:lnTo>
                  <a:lnTo>
                    <a:pt x="3057" y="2352"/>
                  </a:lnTo>
                  <a:lnTo>
                    <a:pt x="3079" y="2354"/>
                  </a:lnTo>
                  <a:lnTo>
                    <a:pt x="3100" y="2352"/>
                  </a:lnTo>
                  <a:lnTo>
                    <a:pt x="3121" y="2344"/>
                  </a:lnTo>
                  <a:lnTo>
                    <a:pt x="3139" y="2333"/>
                  </a:lnTo>
                  <a:lnTo>
                    <a:pt x="3154" y="2317"/>
                  </a:lnTo>
                  <a:lnTo>
                    <a:pt x="3166" y="2300"/>
                  </a:lnTo>
                  <a:lnTo>
                    <a:pt x="3173" y="2279"/>
                  </a:lnTo>
                  <a:lnTo>
                    <a:pt x="3175" y="2257"/>
                  </a:lnTo>
                  <a:lnTo>
                    <a:pt x="3173" y="2235"/>
                  </a:lnTo>
                  <a:lnTo>
                    <a:pt x="3166" y="2215"/>
                  </a:lnTo>
                  <a:lnTo>
                    <a:pt x="3154" y="2197"/>
                  </a:lnTo>
                  <a:lnTo>
                    <a:pt x="3139" y="2181"/>
                  </a:lnTo>
                  <a:lnTo>
                    <a:pt x="3121" y="2170"/>
                  </a:lnTo>
                  <a:lnTo>
                    <a:pt x="3100" y="2163"/>
                  </a:lnTo>
                  <a:lnTo>
                    <a:pt x="3079" y="2160"/>
                  </a:lnTo>
                  <a:close/>
                  <a:moveTo>
                    <a:pt x="280" y="230"/>
                  </a:moveTo>
                  <a:lnTo>
                    <a:pt x="263" y="233"/>
                  </a:lnTo>
                  <a:lnTo>
                    <a:pt x="250" y="240"/>
                  </a:lnTo>
                  <a:lnTo>
                    <a:pt x="239" y="251"/>
                  </a:lnTo>
                  <a:lnTo>
                    <a:pt x="232" y="264"/>
                  </a:lnTo>
                  <a:lnTo>
                    <a:pt x="229" y="281"/>
                  </a:lnTo>
                  <a:lnTo>
                    <a:pt x="229" y="2063"/>
                  </a:lnTo>
                  <a:lnTo>
                    <a:pt x="3194" y="2063"/>
                  </a:lnTo>
                  <a:lnTo>
                    <a:pt x="3194" y="281"/>
                  </a:lnTo>
                  <a:lnTo>
                    <a:pt x="3191" y="264"/>
                  </a:lnTo>
                  <a:lnTo>
                    <a:pt x="3183" y="251"/>
                  </a:lnTo>
                  <a:lnTo>
                    <a:pt x="3173" y="240"/>
                  </a:lnTo>
                  <a:lnTo>
                    <a:pt x="3160" y="233"/>
                  </a:lnTo>
                  <a:lnTo>
                    <a:pt x="3143" y="230"/>
                  </a:lnTo>
                  <a:lnTo>
                    <a:pt x="280" y="230"/>
                  </a:lnTo>
                  <a:close/>
                  <a:moveTo>
                    <a:pt x="1284" y="0"/>
                  </a:moveTo>
                  <a:lnTo>
                    <a:pt x="3143" y="0"/>
                  </a:lnTo>
                  <a:lnTo>
                    <a:pt x="3184" y="3"/>
                  </a:lnTo>
                  <a:lnTo>
                    <a:pt x="3224" y="13"/>
                  </a:lnTo>
                  <a:lnTo>
                    <a:pt x="3261" y="26"/>
                  </a:lnTo>
                  <a:lnTo>
                    <a:pt x="3295" y="46"/>
                  </a:lnTo>
                  <a:lnTo>
                    <a:pt x="3327" y="69"/>
                  </a:lnTo>
                  <a:lnTo>
                    <a:pt x="3355" y="97"/>
                  </a:lnTo>
                  <a:lnTo>
                    <a:pt x="3377" y="128"/>
                  </a:lnTo>
                  <a:lnTo>
                    <a:pt x="3397" y="162"/>
                  </a:lnTo>
                  <a:lnTo>
                    <a:pt x="3411" y="200"/>
                  </a:lnTo>
                  <a:lnTo>
                    <a:pt x="3420" y="239"/>
                  </a:lnTo>
                  <a:lnTo>
                    <a:pt x="3423" y="281"/>
                  </a:lnTo>
                  <a:lnTo>
                    <a:pt x="3423" y="2227"/>
                  </a:lnTo>
                  <a:lnTo>
                    <a:pt x="3420" y="2269"/>
                  </a:lnTo>
                  <a:lnTo>
                    <a:pt x="3411" y="2308"/>
                  </a:lnTo>
                  <a:lnTo>
                    <a:pt x="3397" y="2345"/>
                  </a:lnTo>
                  <a:lnTo>
                    <a:pt x="3377" y="2380"/>
                  </a:lnTo>
                  <a:lnTo>
                    <a:pt x="3355" y="2411"/>
                  </a:lnTo>
                  <a:lnTo>
                    <a:pt x="3327" y="2439"/>
                  </a:lnTo>
                  <a:lnTo>
                    <a:pt x="3295" y="2462"/>
                  </a:lnTo>
                  <a:lnTo>
                    <a:pt x="3261" y="2482"/>
                  </a:lnTo>
                  <a:lnTo>
                    <a:pt x="3224" y="2495"/>
                  </a:lnTo>
                  <a:lnTo>
                    <a:pt x="3184" y="2504"/>
                  </a:lnTo>
                  <a:lnTo>
                    <a:pt x="3143" y="2508"/>
                  </a:lnTo>
                  <a:lnTo>
                    <a:pt x="2183" y="2508"/>
                  </a:lnTo>
                  <a:lnTo>
                    <a:pt x="2183" y="2883"/>
                  </a:lnTo>
                  <a:lnTo>
                    <a:pt x="2335" y="2883"/>
                  </a:lnTo>
                  <a:lnTo>
                    <a:pt x="2366" y="2886"/>
                  </a:lnTo>
                  <a:lnTo>
                    <a:pt x="2395" y="2894"/>
                  </a:lnTo>
                  <a:lnTo>
                    <a:pt x="2422" y="2907"/>
                  </a:lnTo>
                  <a:lnTo>
                    <a:pt x="2446" y="2923"/>
                  </a:lnTo>
                  <a:lnTo>
                    <a:pt x="2467" y="2944"/>
                  </a:lnTo>
                  <a:lnTo>
                    <a:pt x="2483" y="2968"/>
                  </a:lnTo>
                  <a:lnTo>
                    <a:pt x="2496" y="2995"/>
                  </a:lnTo>
                  <a:lnTo>
                    <a:pt x="2504" y="3024"/>
                  </a:lnTo>
                  <a:lnTo>
                    <a:pt x="2507" y="3055"/>
                  </a:lnTo>
                  <a:lnTo>
                    <a:pt x="2504" y="3086"/>
                  </a:lnTo>
                  <a:lnTo>
                    <a:pt x="2496" y="3115"/>
                  </a:lnTo>
                  <a:lnTo>
                    <a:pt x="2483" y="3142"/>
                  </a:lnTo>
                  <a:lnTo>
                    <a:pt x="2467" y="3166"/>
                  </a:lnTo>
                  <a:lnTo>
                    <a:pt x="2446" y="3187"/>
                  </a:lnTo>
                  <a:lnTo>
                    <a:pt x="2422" y="3204"/>
                  </a:lnTo>
                  <a:lnTo>
                    <a:pt x="2395" y="3217"/>
                  </a:lnTo>
                  <a:lnTo>
                    <a:pt x="2366" y="3225"/>
                  </a:lnTo>
                  <a:lnTo>
                    <a:pt x="2335" y="3228"/>
                  </a:lnTo>
                  <a:lnTo>
                    <a:pt x="1088" y="3228"/>
                  </a:lnTo>
                  <a:lnTo>
                    <a:pt x="1057" y="3225"/>
                  </a:lnTo>
                  <a:lnTo>
                    <a:pt x="1028" y="3217"/>
                  </a:lnTo>
                  <a:lnTo>
                    <a:pt x="1001" y="3204"/>
                  </a:lnTo>
                  <a:lnTo>
                    <a:pt x="977" y="3187"/>
                  </a:lnTo>
                  <a:lnTo>
                    <a:pt x="956" y="3166"/>
                  </a:lnTo>
                  <a:lnTo>
                    <a:pt x="940" y="3142"/>
                  </a:lnTo>
                  <a:lnTo>
                    <a:pt x="927" y="3115"/>
                  </a:lnTo>
                  <a:lnTo>
                    <a:pt x="919" y="3086"/>
                  </a:lnTo>
                  <a:lnTo>
                    <a:pt x="916" y="3055"/>
                  </a:lnTo>
                  <a:lnTo>
                    <a:pt x="919" y="3024"/>
                  </a:lnTo>
                  <a:lnTo>
                    <a:pt x="927" y="2995"/>
                  </a:lnTo>
                  <a:lnTo>
                    <a:pt x="940" y="2968"/>
                  </a:lnTo>
                  <a:lnTo>
                    <a:pt x="956" y="2944"/>
                  </a:lnTo>
                  <a:lnTo>
                    <a:pt x="977" y="2923"/>
                  </a:lnTo>
                  <a:lnTo>
                    <a:pt x="1001" y="2907"/>
                  </a:lnTo>
                  <a:lnTo>
                    <a:pt x="1028" y="2894"/>
                  </a:lnTo>
                  <a:lnTo>
                    <a:pt x="1057" y="2886"/>
                  </a:lnTo>
                  <a:lnTo>
                    <a:pt x="1088" y="2883"/>
                  </a:lnTo>
                  <a:lnTo>
                    <a:pt x="1240" y="2883"/>
                  </a:lnTo>
                  <a:lnTo>
                    <a:pt x="1240" y="2508"/>
                  </a:lnTo>
                  <a:lnTo>
                    <a:pt x="280" y="2508"/>
                  </a:lnTo>
                  <a:lnTo>
                    <a:pt x="239" y="2504"/>
                  </a:lnTo>
                  <a:lnTo>
                    <a:pt x="199" y="2495"/>
                  </a:lnTo>
                  <a:lnTo>
                    <a:pt x="162" y="2482"/>
                  </a:lnTo>
                  <a:lnTo>
                    <a:pt x="128" y="2462"/>
                  </a:lnTo>
                  <a:lnTo>
                    <a:pt x="96" y="2439"/>
                  </a:lnTo>
                  <a:lnTo>
                    <a:pt x="68" y="2411"/>
                  </a:lnTo>
                  <a:lnTo>
                    <a:pt x="45" y="2380"/>
                  </a:lnTo>
                  <a:lnTo>
                    <a:pt x="26" y="2345"/>
                  </a:lnTo>
                  <a:lnTo>
                    <a:pt x="11" y="2308"/>
                  </a:lnTo>
                  <a:lnTo>
                    <a:pt x="3" y="2269"/>
                  </a:lnTo>
                  <a:lnTo>
                    <a:pt x="0" y="2227"/>
                  </a:lnTo>
                  <a:lnTo>
                    <a:pt x="0" y="281"/>
                  </a:lnTo>
                  <a:lnTo>
                    <a:pt x="3" y="239"/>
                  </a:lnTo>
                  <a:lnTo>
                    <a:pt x="11" y="200"/>
                  </a:lnTo>
                  <a:lnTo>
                    <a:pt x="26" y="162"/>
                  </a:lnTo>
                  <a:lnTo>
                    <a:pt x="45" y="128"/>
                  </a:lnTo>
                  <a:lnTo>
                    <a:pt x="68" y="97"/>
                  </a:lnTo>
                  <a:lnTo>
                    <a:pt x="96" y="69"/>
                  </a:lnTo>
                  <a:lnTo>
                    <a:pt x="128" y="46"/>
                  </a:lnTo>
                  <a:lnTo>
                    <a:pt x="162" y="26"/>
                  </a:lnTo>
                  <a:lnTo>
                    <a:pt x="199" y="13"/>
                  </a:lnTo>
                  <a:lnTo>
                    <a:pt x="239" y="3"/>
                  </a:lnTo>
                  <a:lnTo>
                    <a:pt x="280" y="0"/>
                  </a:lnTo>
                  <a:lnTo>
                    <a:pt x="1284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58" name="Group 148"/>
            <p:cNvGrpSpPr>
              <a:grpSpLocks noChangeAspect="1"/>
            </p:cNvGrpSpPr>
            <p:nvPr/>
          </p:nvGrpSpPr>
          <p:grpSpPr bwMode="auto">
            <a:xfrm>
              <a:off x="629171" y="1539681"/>
              <a:ext cx="119848" cy="178275"/>
              <a:chOff x="5748" y="2786"/>
              <a:chExt cx="202" cy="243"/>
            </a:xfrm>
          </p:grpSpPr>
          <p:sp>
            <p:nvSpPr>
              <p:cNvPr id="78" name="Freeform 150"/>
              <p:cNvSpPr>
                <a:spLocks noEditPoints="1"/>
              </p:cNvSpPr>
              <p:nvPr/>
            </p:nvSpPr>
            <p:spPr bwMode="auto">
              <a:xfrm>
                <a:off x="5748" y="2786"/>
                <a:ext cx="202" cy="243"/>
              </a:xfrm>
              <a:custGeom>
                <a:avLst/>
                <a:gdLst>
                  <a:gd name="T0" fmla="*/ 0 w 2742"/>
                  <a:gd name="T1" fmla="*/ 0 h 3361"/>
                  <a:gd name="T2" fmla="*/ 0 w 2742"/>
                  <a:gd name="T3" fmla="*/ 0 h 3361"/>
                  <a:gd name="T4" fmla="*/ 0 w 2742"/>
                  <a:gd name="T5" fmla="*/ 0 h 3361"/>
                  <a:gd name="T6" fmla="*/ 0 w 2742"/>
                  <a:gd name="T7" fmla="*/ 0 h 3361"/>
                  <a:gd name="T8" fmla="*/ 0 w 2742"/>
                  <a:gd name="T9" fmla="*/ 0 h 3361"/>
                  <a:gd name="T10" fmla="*/ 0 w 2742"/>
                  <a:gd name="T11" fmla="*/ 0 h 3361"/>
                  <a:gd name="T12" fmla="*/ 0 w 2742"/>
                  <a:gd name="T13" fmla="*/ 0 h 3361"/>
                  <a:gd name="T14" fmla="*/ 0 w 2742"/>
                  <a:gd name="T15" fmla="*/ 0 h 3361"/>
                  <a:gd name="T16" fmla="*/ 0 w 2742"/>
                  <a:gd name="T17" fmla="*/ 0 h 3361"/>
                  <a:gd name="T18" fmla="*/ 0 w 2742"/>
                  <a:gd name="T19" fmla="*/ 0 h 3361"/>
                  <a:gd name="T20" fmla="*/ 0 w 2742"/>
                  <a:gd name="T21" fmla="*/ 0 h 3361"/>
                  <a:gd name="T22" fmla="*/ 0 w 2742"/>
                  <a:gd name="T23" fmla="*/ 0 h 3361"/>
                  <a:gd name="T24" fmla="*/ 0 w 2742"/>
                  <a:gd name="T25" fmla="*/ 0 h 3361"/>
                  <a:gd name="T26" fmla="*/ 0 w 2742"/>
                  <a:gd name="T27" fmla="*/ 0 h 3361"/>
                  <a:gd name="T28" fmla="*/ 0 w 2742"/>
                  <a:gd name="T29" fmla="*/ 0 h 3361"/>
                  <a:gd name="T30" fmla="*/ 0 w 2742"/>
                  <a:gd name="T31" fmla="*/ 0 h 3361"/>
                  <a:gd name="T32" fmla="*/ 0 w 2742"/>
                  <a:gd name="T33" fmla="*/ 0 h 3361"/>
                  <a:gd name="T34" fmla="*/ 0 w 2742"/>
                  <a:gd name="T35" fmla="*/ 0 h 3361"/>
                  <a:gd name="T36" fmla="*/ 0 w 2742"/>
                  <a:gd name="T37" fmla="*/ 0 h 3361"/>
                  <a:gd name="T38" fmla="*/ 0 w 2742"/>
                  <a:gd name="T39" fmla="*/ 0 h 3361"/>
                  <a:gd name="T40" fmla="*/ 0 w 2742"/>
                  <a:gd name="T41" fmla="*/ 0 h 3361"/>
                  <a:gd name="T42" fmla="*/ 0 w 2742"/>
                  <a:gd name="T43" fmla="*/ 0 h 3361"/>
                  <a:gd name="T44" fmla="*/ 0 w 2742"/>
                  <a:gd name="T45" fmla="*/ 0 h 3361"/>
                  <a:gd name="T46" fmla="*/ 0 w 2742"/>
                  <a:gd name="T47" fmla="*/ 0 h 3361"/>
                  <a:gd name="T48" fmla="*/ 0 w 2742"/>
                  <a:gd name="T49" fmla="*/ 0 h 3361"/>
                  <a:gd name="T50" fmla="*/ 0 w 2742"/>
                  <a:gd name="T51" fmla="*/ 0 h 3361"/>
                  <a:gd name="T52" fmla="*/ 0 w 2742"/>
                  <a:gd name="T53" fmla="*/ 0 h 3361"/>
                  <a:gd name="T54" fmla="*/ 0 w 2742"/>
                  <a:gd name="T55" fmla="*/ 0 h 3361"/>
                  <a:gd name="T56" fmla="*/ 0 w 2742"/>
                  <a:gd name="T57" fmla="*/ 0 h 3361"/>
                  <a:gd name="T58" fmla="*/ 0 w 2742"/>
                  <a:gd name="T59" fmla="*/ 0 h 3361"/>
                  <a:gd name="T60" fmla="*/ 0 w 2742"/>
                  <a:gd name="T61" fmla="*/ 0 h 3361"/>
                  <a:gd name="T62" fmla="*/ 0 w 2742"/>
                  <a:gd name="T63" fmla="*/ 0 h 3361"/>
                  <a:gd name="T64" fmla="*/ 0 w 2742"/>
                  <a:gd name="T65" fmla="*/ 0 h 3361"/>
                  <a:gd name="T66" fmla="*/ 0 w 2742"/>
                  <a:gd name="T67" fmla="*/ 0 h 3361"/>
                  <a:gd name="T68" fmla="*/ 0 w 2742"/>
                  <a:gd name="T69" fmla="*/ 0 h 3361"/>
                  <a:gd name="T70" fmla="*/ 0 w 2742"/>
                  <a:gd name="T71" fmla="*/ 0 h 3361"/>
                  <a:gd name="T72" fmla="*/ 0 w 2742"/>
                  <a:gd name="T73" fmla="*/ 0 h 3361"/>
                  <a:gd name="T74" fmla="*/ 0 w 2742"/>
                  <a:gd name="T75" fmla="*/ 0 h 3361"/>
                  <a:gd name="T76" fmla="*/ 0 w 2742"/>
                  <a:gd name="T77" fmla="*/ 0 h 3361"/>
                  <a:gd name="T78" fmla="*/ 0 w 2742"/>
                  <a:gd name="T79" fmla="*/ 0 h 3361"/>
                  <a:gd name="T80" fmla="*/ 0 w 2742"/>
                  <a:gd name="T81" fmla="*/ 0 h 3361"/>
                  <a:gd name="T82" fmla="*/ 0 w 2742"/>
                  <a:gd name="T83" fmla="*/ 0 h 3361"/>
                  <a:gd name="T84" fmla="*/ 0 w 2742"/>
                  <a:gd name="T85" fmla="*/ 0 h 3361"/>
                  <a:gd name="T86" fmla="*/ 0 w 2742"/>
                  <a:gd name="T87" fmla="*/ 0 h 3361"/>
                  <a:gd name="T88" fmla="*/ 0 w 2742"/>
                  <a:gd name="T89" fmla="*/ 0 h 3361"/>
                  <a:gd name="T90" fmla="*/ 0 w 2742"/>
                  <a:gd name="T91" fmla="*/ 0 h 3361"/>
                  <a:gd name="T92" fmla="*/ 0 w 2742"/>
                  <a:gd name="T93" fmla="*/ 0 h 3361"/>
                  <a:gd name="T94" fmla="*/ 0 w 2742"/>
                  <a:gd name="T95" fmla="*/ 0 h 3361"/>
                  <a:gd name="T96" fmla="*/ 0 w 2742"/>
                  <a:gd name="T97" fmla="*/ 0 h 3361"/>
                  <a:gd name="T98" fmla="*/ 0 w 2742"/>
                  <a:gd name="T99" fmla="*/ 0 h 3361"/>
                  <a:gd name="T100" fmla="*/ 0 w 2742"/>
                  <a:gd name="T101" fmla="*/ 0 h 3361"/>
                  <a:gd name="T102" fmla="*/ 0 w 2742"/>
                  <a:gd name="T103" fmla="*/ 0 h 3361"/>
                  <a:gd name="T104" fmla="*/ 0 w 2742"/>
                  <a:gd name="T105" fmla="*/ 0 h 3361"/>
                  <a:gd name="T106" fmla="*/ 0 w 2742"/>
                  <a:gd name="T107" fmla="*/ 0 h 3361"/>
                  <a:gd name="T108" fmla="*/ 0 w 2742"/>
                  <a:gd name="T109" fmla="*/ 0 h 3361"/>
                  <a:gd name="T110" fmla="*/ 0 w 2742"/>
                  <a:gd name="T111" fmla="*/ 0 h 3361"/>
                  <a:gd name="T112" fmla="*/ 0 w 2742"/>
                  <a:gd name="T113" fmla="*/ 0 h 3361"/>
                  <a:gd name="T114" fmla="*/ 0 w 2742"/>
                  <a:gd name="T115" fmla="*/ 0 h 3361"/>
                  <a:gd name="T116" fmla="*/ 0 w 2742"/>
                  <a:gd name="T117" fmla="*/ 0 h 336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742"/>
                  <a:gd name="T178" fmla="*/ 0 h 3361"/>
                  <a:gd name="T179" fmla="*/ 2742 w 2742"/>
                  <a:gd name="T180" fmla="*/ 3361 h 336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742" h="3361">
                    <a:moveTo>
                      <a:pt x="239" y="727"/>
                    </a:moveTo>
                    <a:lnTo>
                      <a:pt x="225" y="729"/>
                    </a:lnTo>
                    <a:lnTo>
                      <a:pt x="215" y="736"/>
                    </a:lnTo>
                    <a:lnTo>
                      <a:pt x="207" y="747"/>
                    </a:lnTo>
                    <a:lnTo>
                      <a:pt x="205" y="761"/>
                    </a:lnTo>
                    <a:lnTo>
                      <a:pt x="205" y="3123"/>
                    </a:lnTo>
                    <a:lnTo>
                      <a:pt x="207" y="3136"/>
                    </a:lnTo>
                    <a:lnTo>
                      <a:pt x="215" y="3147"/>
                    </a:lnTo>
                    <a:lnTo>
                      <a:pt x="225" y="3154"/>
                    </a:lnTo>
                    <a:lnTo>
                      <a:pt x="239" y="3157"/>
                    </a:lnTo>
                    <a:lnTo>
                      <a:pt x="2040" y="3157"/>
                    </a:lnTo>
                    <a:lnTo>
                      <a:pt x="2054" y="3154"/>
                    </a:lnTo>
                    <a:lnTo>
                      <a:pt x="2064" y="3147"/>
                    </a:lnTo>
                    <a:lnTo>
                      <a:pt x="2071" y="3136"/>
                    </a:lnTo>
                    <a:lnTo>
                      <a:pt x="2074" y="3123"/>
                    </a:lnTo>
                    <a:lnTo>
                      <a:pt x="2074" y="761"/>
                    </a:lnTo>
                    <a:lnTo>
                      <a:pt x="2071" y="747"/>
                    </a:lnTo>
                    <a:lnTo>
                      <a:pt x="2064" y="736"/>
                    </a:lnTo>
                    <a:lnTo>
                      <a:pt x="2054" y="729"/>
                    </a:lnTo>
                    <a:lnTo>
                      <a:pt x="2040" y="727"/>
                    </a:lnTo>
                    <a:lnTo>
                      <a:pt x="239" y="727"/>
                    </a:lnTo>
                    <a:close/>
                    <a:moveTo>
                      <a:pt x="702" y="204"/>
                    </a:moveTo>
                    <a:lnTo>
                      <a:pt x="688" y="207"/>
                    </a:lnTo>
                    <a:lnTo>
                      <a:pt x="678" y="214"/>
                    </a:lnTo>
                    <a:lnTo>
                      <a:pt x="671" y="225"/>
                    </a:lnTo>
                    <a:lnTo>
                      <a:pt x="668" y="238"/>
                    </a:lnTo>
                    <a:lnTo>
                      <a:pt x="668" y="523"/>
                    </a:lnTo>
                    <a:lnTo>
                      <a:pt x="2040" y="523"/>
                    </a:lnTo>
                    <a:lnTo>
                      <a:pt x="2078" y="526"/>
                    </a:lnTo>
                    <a:lnTo>
                      <a:pt x="2116" y="535"/>
                    </a:lnTo>
                    <a:lnTo>
                      <a:pt x="2150" y="549"/>
                    </a:lnTo>
                    <a:lnTo>
                      <a:pt x="2181" y="568"/>
                    </a:lnTo>
                    <a:lnTo>
                      <a:pt x="2209" y="592"/>
                    </a:lnTo>
                    <a:lnTo>
                      <a:pt x="2232" y="620"/>
                    </a:lnTo>
                    <a:lnTo>
                      <a:pt x="2252" y="651"/>
                    </a:lnTo>
                    <a:lnTo>
                      <a:pt x="2266" y="686"/>
                    </a:lnTo>
                    <a:lnTo>
                      <a:pt x="2276" y="722"/>
                    </a:lnTo>
                    <a:lnTo>
                      <a:pt x="2279" y="761"/>
                    </a:lnTo>
                    <a:lnTo>
                      <a:pt x="2279" y="2634"/>
                    </a:lnTo>
                    <a:lnTo>
                      <a:pt x="2503" y="2634"/>
                    </a:lnTo>
                    <a:lnTo>
                      <a:pt x="2517" y="2632"/>
                    </a:lnTo>
                    <a:lnTo>
                      <a:pt x="2528" y="2624"/>
                    </a:lnTo>
                    <a:lnTo>
                      <a:pt x="2535" y="2614"/>
                    </a:lnTo>
                    <a:lnTo>
                      <a:pt x="2537" y="2600"/>
                    </a:lnTo>
                    <a:lnTo>
                      <a:pt x="2537" y="238"/>
                    </a:lnTo>
                    <a:lnTo>
                      <a:pt x="2535" y="225"/>
                    </a:lnTo>
                    <a:lnTo>
                      <a:pt x="2528" y="214"/>
                    </a:lnTo>
                    <a:lnTo>
                      <a:pt x="2517" y="207"/>
                    </a:lnTo>
                    <a:lnTo>
                      <a:pt x="2503" y="204"/>
                    </a:lnTo>
                    <a:lnTo>
                      <a:pt x="702" y="204"/>
                    </a:lnTo>
                    <a:close/>
                    <a:moveTo>
                      <a:pt x="702" y="0"/>
                    </a:moveTo>
                    <a:lnTo>
                      <a:pt x="2503" y="0"/>
                    </a:lnTo>
                    <a:lnTo>
                      <a:pt x="2542" y="3"/>
                    </a:lnTo>
                    <a:lnTo>
                      <a:pt x="2579" y="13"/>
                    </a:lnTo>
                    <a:lnTo>
                      <a:pt x="2613" y="27"/>
                    </a:lnTo>
                    <a:lnTo>
                      <a:pt x="2645" y="47"/>
                    </a:lnTo>
                    <a:lnTo>
                      <a:pt x="2673" y="70"/>
                    </a:lnTo>
                    <a:lnTo>
                      <a:pt x="2696" y="98"/>
                    </a:lnTo>
                    <a:lnTo>
                      <a:pt x="2716" y="129"/>
                    </a:lnTo>
                    <a:lnTo>
                      <a:pt x="2731" y="163"/>
                    </a:lnTo>
                    <a:lnTo>
                      <a:pt x="2739" y="200"/>
                    </a:lnTo>
                    <a:lnTo>
                      <a:pt x="2742" y="238"/>
                    </a:lnTo>
                    <a:lnTo>
                      <a:pt x="2742" y="2600"/>
                    </a:lnTo>
                    <a:lnTo>
                      <a:pt x="2739" y="2639"/>
                    </a:lnTo>
                    <a:lnTo>
                      <a:pt x="2731" y="2675"/>
                    </a:lnTo>
                    <a:lnTo>
                      <a:pt x="2716" y="2709"/>
                    </a:lnTo>
                    <a:lnTo>
                      <a:pt x="2696" y="2741"/>
                    </a:lnTo>
                    <a:lnTo>
                      <a:pt x="2673" y="2768"/>
                    </a:lnTo>
                    <a:lnTo>
                      <a:pt x="2645" y="2792"/>
                    </a:lnTo>
                    <a:lnTo>
                      <a:pt x="2613" y="2811"/>
                    </a:lnTo>
                    <a:lnTo>
                      <a:pt x="2579" y="2825"/>
                    </a:lnTo>
                    <a:lnTo>
                      <a:pt x="2542" y="2835"/>
                    </a:lnTo>
                    <a:lnTo>
                      <a:pt x="2503" y="2838"/>
                    </a:lnTo>
                    <a:lnTo>
                      <a:pt x="2279" y="2838"/>
                    </a:lnTo>
                    <a:lnTo>
                      <a:pt x="2279" y="3123"/>
                    </a:lnTo>
                    <a:lnTo>
                      <a:pt x="2276" y="3161"/>
                    </a:lnTo>
                    <a:lnTo>
                      <a:pt x="2266" y="3197"/>
                    </a:lnTo>
                    <a:lnTo>
                      <a:pt x="2252" y="3232"/>
                    </a:lnTo>
                    <a:lnTo>
                      <a:pt x="2232" y="3263"/>
                    </a:lnTo>
                    <a:lnTo>
                      <a:pt x="2209" y="3291"/>
                    </a:lnTo>
                    <a:lnTo>
                      <a:pt x="2181" y="3314"/>
                    </a:lnTo>
                    <a:lnTo>
                      <a:pt x="2150" y="3334"/>
                    </a:lnTo>
                    <a:lnTo>
                      <a:pt x="2116" y="3348"/>
                    </a:lnTo>
                    <a:lnTo>
                      <a:pt x="2078" y="3356"/>
                    </a:lnTo>
                    <a:lnTo>
                      <a:pt x="2040" y="3361"/>
                    </a:lnTo>
                    <a:lnTo>
                      <a:pt x="239" y="3361"/>
                    </a:lnTo>
                    <a:lnTo>
                      <a:pt x="199" y="3356"/>
                    </a:lnTo>
                    <a:lnTo>
                      <a:pt x="163" y="3348"/>
                    </a:lnTo>
                    <a:lnTo>
                      <a:pt x="129" y="3334"/>
                    </a:lnTo>
                    <a:lnTo>
                      <a:pt x="97" y="3314"/>
                    </a:lnTo>
                    <a:lnTo>
                      <a:pt x="69" y="3291"/>
                    </a:lnTo>
                    <a:lnTo>
                      <a:pt x="45" y="3263"/>
                    </a:lnTo>
                    <a:lnTo>
                      <a:pt x="27" y="3232"/>
                    </a:lnTo>
                    <a:lnTo>
                      <a:pt x="12" y="3197"/>
                    </a:lnTo>
                    <a:lnTo>
                      <a:pt x="3" y="3161"/>
                    </a:lnTo>
                    <a:lnTo>
                      <a:pt x="0" y="3123"/>
                    </a:lnTo>
                    <a:lnTo>
                      <a:pt x="0" y="761"/>
                    </a:lnTo>
                    <a:lnTo>
                      <a:pt x="3" y="722"/>
                    </a:lnTo>
                    <a:lnTo>
                      <a:pt x="12" y="686"/>
                    </a:lnTo>
                    <a:lnTo>
                      <a:pt x="27" y="651"/>
                    </a:lnTo>
                    <a:lnTo>
                      <a:pt x="45" y="620"/>
                    </a:lnTo>
                    <a:lnTo>
                      <a:pt x="69" y="592"/>
                    </a:lnTo>
                    <a:lnTo>
                      <a:pt x="97" y="568"/>
                    </a:lnTo>
                    <a:lnTo>
                      <a:pt x="129" y="549"/>
                    </a:lnTo>
                    <a:lnTo>
                      <a:pt x="163" y="535"/>
                    </a:lnTo>
                    <a:lnTo>
                      <a:pt x="199" y="526"/>
                    </a:lnTo>
                    <a:lnTo>
                      <a:pt x="239" y="523"/>
                    </a:lnTo>
                    <a:lnTo>
                      <a:pt x="463" y="523"/>
                    </a:lnTo>
                    <a:lnTo>
                      <a:pt x="463" y="238"/>
                    </a:lnTo>
                    <a:lnTo>
                      <a:pt x="466" y="200"/>
                    </a:lnTo>
                    <a:lnTo>
                      <a:pt x="475" y="163"/>
                    </a:lnTo>
                    <a:lnTo>
                      <a:pt x="490" y="129"/>
                    </a:lnTo>
                    <a:lnTo>
                      <a:pt x="510" y="98"/>
                    </a:lnTo>
                    <a:lnTo>
                      <a:pt x="533" y="70"/>
                    </a:lnTo>
                    <a:lnTo>
                      <a:pt x="561" y="47"/>
                    </a:lnTo>
                    <a:lnTo>
                      <a:pt x="592" y="27"/>
                    </a:lnTo>
                    <a:lnTo>
                      <a:pt x="626" y="13"/>
                    </a:lnTo>
                    <a:lnTo>
                      <a:pt x="664" y="3"/>
                    </a:lnTo>
                    <a:lnTo>
                      <a:pt x="7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9" name="Freeform 151"/>
              <p:cNvSpPr>
                <a:spLocks/>
              </p:cNvSpPr>
              <p:nvPr/>
            </p:nvSpPr>
            <p:spPr bwMode="auto">
              <a:xfrm>
                <a:off x="5778" y="2856"/>
                <a:ext cx="92" cy="13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3"/>
                    </a:lnTo>
                    <a:lnTo>
                      <a:pt x="1311" y="10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8"/>
                    </a:lnTo>
                    <a:lnTo>
                      <a:pt x="1366" y="79"/>
                    </a:lnTo>
                    <a:lnTo>
                      <a:pt x="1369" y="102"/>
                    </a:lnTo>
                    <a:lnTo>
                      <a:pt x="1366" y="125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2"/>
                    </a:lnTo>
                    <a:lnTo>
                      <a:pt x="1311" y="193"/>
                    </a:lnTo>
                    <a:lnTo>
                      <a:pt x="1290" y="201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1"/>
                    </a:lnTo>
                    <a:lnTo>
                      <a:pt x="58" y="193"/>
                    </a:lnTo>
                    <a:lnTo>
                      <a:pt x="38" y="182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5"/>
                    </a:lnTo>
                    <a:lnTo>
                      <a:pt x="0" y="102"/>
                    </a:lnTo>
                    <a:lnTo>
                      <a:pt x="3" y="79"/>
                    </a:lnTo>
                    <a:lnTo>
                      <a:pt x="10" y="58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0"/>
                    </a:lnTo>
                    <a:lnTo>
                      <a:pt x="78" y="3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0" name="Freeform 152"/>
              <p:cNvSpPr>
                <a:spLocks/>
              </p:cNvSpPr>
              <p:nvPr/>
            </p:nvSpPr>
            <p:spPr bwMode="auto">
              <a:xfrm>
                <a:off x="5778" y="2886"/>
                <a:ext cx="92" cy="14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3"/>
                    </a:lnTo>
                    <a:lnTo>
                      <a:pt x="1311" y="11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8"/>
                    </a:lnTo>
                    <a:lnTo>
                      <a:pt x="1366" y="78"/>
                    </a:lnTo>
                    <a:lnTo>
                      <a:pt x="1369" y="102"/>
                    </a:lnTo>
                    <a:lnTo>
                      <a:pt x="1366" y="126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1"/>
                    </a:lnTo>
                    <a:lnTo>
                      <a:pt x="1311" y="193"/>
                    </a:lnTo>
                    <a:lnTo>
                      <a:pt x="1290" y="202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2"/>
                    </a:lnTo>
                    <a:lnTo>
                      <a:pt x="58" y="193"/>
                    </a:lnTo>
                    <a:lnTo>
                      <a:pt x="38" y="181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6"/>
                    </a:lnTo>
                    <a:lnTo>
                      <a:pt x="0" y="102"/>
                    </a:lnTo>
                    <a:lnTo>
                      <a:pt x="3" y="78"/>
                    </a:lnTo>
                    <a:lnTo>
                      <a:pt x="10" y="58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1"/>
                    </a:lnTo>
                    <a:lnTo>
                      <a:pt x="78" y="3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1" name="Freeform 153"/>
              <p:cNvSpPr>
                <a:spLocks/>
              </p:cNvSpPr>
              <p:nvPr/>
            </p:nvSpPr>
            <p:spPr bwMode="auto">
              <a:xfrm>
                <a:off x="5778" y="2917"/>
                <a:ext cx="92" cy="13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4"/>
                    </a:lnTo>
                    <a:lnTo>
                      <a:pt x="1311" y="11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7"/>
                    </a:lnTo>
                    <a:lnTo>
                      <a:pt x="1366" y="79"/>
                    </a:lnTo>
                    <a:lnTo>
                      <a:pt x="1369" y="102"/>
                    </a:lnTo>
                    <a:lnTo>
                      <a:pt x="1366" y="126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1"/>
                    </a:lnTo>
                    <a:lnTo>
                      <a:pt x="1311" y="194"/>
                    </a:lnTo>
                    <a:lnTo>
                      <a:pt x="1290" y="201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1"/>
                    </a:lnTo>
                    <a:lnTo>
                      <a:pt x="58" y="194"/>
                    </a:lnTo>
                    <a:lnTo>
                      <a:pt x="38" y="181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6"/>
                    </a:lnTo>
                    <a:lnTo>
                      <a:pt x="0" y="102"/>
                    </a:lnTo>
                    <a:lnTo>
                      <a:pt x="3" y="79"/>
                    </a:lnTo>
                    <a:lnTo>
                      <a:pt x="10" y="57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1"/>
                    </a:lnTo>
                    <a:lnTo>
                      <a:pt x="78" y="4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2" name="Freeform 154"/>
              <p:cNvSpPr>
                <a:spLocks/>
              </p:cNvSpPr>
              <p:nvPr/>
            </p:nvSpPr>
            <p:spPr bwMode="auto">
              <a:xfrm>
                <a:off x="5778" y="2947"/>
                <a:ext cx="92" cy="14"/>
              </a:xfrm>
              <a:custGeom>
                <a:avLst/>
                <a:gdLst>
                  <a:gd name="T0" fmla="*/ 0 w 1369"/>
                  <a:gd name="T1" fmla="*/ 0 h 203"/>
                  <a:gd name="T2" fmla="*/ 0 w 1369"/>
                  <a:gd name="T3" fmla="*/ 0 h 203"/>
                  <a:gd name="T4" fmla="*/ 0 w 1369"/>
                  <a:gd name="T5" fmla="*/ 0 h 203"/>
                  <a:gd name="T6" fmla="*/ 0 w 1369"/>
                  <a:gd name="T7" fmla="*/ 0 h 203"/>
                  <a:gd name="T8" fmla="*/ 0 w 1369"/>
                  <a:gd name="T9" fmla="*/ 0 h 203"/>
                  <a:gd name="T10" fmla="*/ 0 w 1369"/>
                  <a:gd name="T11" fmla="*/ 0 h 203"/>
                  <a:gd name="T12" fmla="*/ 0 w 1369"/>
                  <a:gd name="T13" fmla="*/ 0 h 203"/>
                  <a:gd name="T14" fmla="*/ 0 w 1369"/>
                  <a:gd name="T15" fmla="*/ 0 h 203"/>
                  <a:gd name="T16" fmla="*/ 0 w 1369"/>
                  <a:gd name="T17" fmla="*/ 0 h 203"/>
                  <a:gd name="T18" fmla="*/ 0 w 1369"/>
                  <a:gd name="T19" fmla="*/ 0 h 203"/>
                  <a:gd name="T20" fmla="*/ 0 w 1369"/>
                  <a:gd name="T21" fmla="*/ 0 h 203"/>
                  <a:gd name="T22" fmla="*/ 0 w 1369"/>
                  <a:gd name="T23" fmla="*/ 0 h 203"/>
                  <a:gd name="T24" fmla="*/ 0 w 1369"/>
                  <a:gd name="T25" fmla="*/ 0 h 203"/>
                  <a:gd name="T26" fmla="*/ 0 w 1369"/>
                  <a:gd name="T27" fmla="*/ 0 h 203"/>
                  <a:gd name="T28" fmla="*/ 0 w 1369"/>
                  <a:gd name="T29" fmla="*/ 0 h 203"/>
                  <a:gd name="T30" fmla="*/ 0 w 1369"/>
                  <a:gd name="T31" fmla="*/ 0 h 203"/>
                  <a:gd name="T32" fmla="*/ 0 w 1369"/>
                  <a:gd name="T33" fmla="*/ 0 h 203"/>
                  <a:gd name="T34" fmla="*/ 0 w 1369"/>
                  <a:gd name="T35" fmla="*/ 0 h 203"/>
                  <a:gd name="T36" fmla="*/ 0 w 1369"/>
                  <a:gd name="T37" fmla="*/ 0 h 203"/>
                  <a:gd name="T38" fmla="*/ 0 w 1369"/>
                  <a:gd name="T39" fmla="*/ 0 h 203"/>
                  <a:gd name="T40" fmla="*/ 0 w 1369"/>
                  <a:gd name="T41" fmla="*/ 0 h 203"/>
                  <a:gd name="T42" fmla="*/ 0 w 1369"/>
                  <a:gd name="T43" fmla="*/ 0 h 203"/>
                  <a:gd name="T44" fmla="*/ 0 w 1369"/>
                  <a:gd name="T45" fmla="*/ 0 h 203"/>
                  <a:gd name="T46" fmla="*/ 0 w 1369"/>
                  <a:gd name="T47" fmla="*/ 0 h 203"/>
                  <a:gd name="T48" fmla="*/ 0 w 1369"/>
                  <a:gd name="T49" fmla="*/ 0 h 203"/>
                  <a:gd name="T50" fmla="*/ 0 w 1369"/>
                  <a:gd name="T51" fmla="*/ 0 h 203"/>
                  <a:gd name="T52" fmla="*/ 0 w 1369"/>
                  <a:gd name="T53" fmla="*/ 0 h 203"/>
                  <a:gd name="T54" fmla="*/ 0 w 1369"/>
                  <a:gd name="T55" fmla="*/ 0 h 203"/>
                  <a:gd name="T56" fmla="*/ 0 w 1369"/>
                  <a:gd name="T57" fmla="*/ 0 h 203"/>
                  <a:gd name="T58" fmla="*/ 0 w 1369"/>
                  <a:gd name="T59" fmla="*/ 0 h 203"/>
                  <a:gd name="T60" fmla="*/ 0 w 1369"/>
                  <a:gd name="T61" fmla="*/ 0 h 20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3"/>
                  <a:gd name="T95" fmla="*/ 1369 w 1369"/>
                  <a:gd name="T96" fmla="*/ 203 h 20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3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2"/>
                    </a:lnTo>
                    <a:lnTo>
                      <a:pt x="1311" y="10"/>
                    </a:lnTo>
                    <a:lnTo>
                      <a:pt x="1331" y="22"/>
                    </a:lnTo>
                    <a:lnTo>
                      <a:pt x="1346" y="38"/>
                    </a:lnTo>
                    <a:lnTo>
                      <a:pt x="1359" y="56"/>
                    </a:lnTo>
                    <a:lnTo>
                      <a:pt x="1366" y="78"/>
                    </a:lnTo>
                    <a:lnTo>
                      <a:pt x="1369" y="101"/>
                    </a:lnTo>
                    <a:lnTo>
                      <a:pt x="1366" y="125"/>
                    </a:lnTo>
                    <a:lnTo>
                      <a:pt x="1359" y="145"/>
                    </a:lnTo>
                    <a:lnTo>
                      <a:pt x="1346" y="165"/>
                    </a:lnTo>
                    <a:lnTo>
                      <a:pt x="1331" y="180"/>
                    </a:lnTo>
                    <a:lnTo>
                      <a:pt x="1311" y="193"/>
                    </a:lnTo>
                    <a:lnTo>
                      <a:pt x="1290" y="200"/>
                    </a:lnTo>
                    <a:lnTo>
                      <a:pt x="1267" y="203"/>
                    </a:lnTo>
                    <a:lnTo>
                      <a:pt x="102" y="203"/>
                    </a:lnTo>
                    <a:lnTo>
                      <a:pt x="78" y="200"/>
                    </a:lnTo>
                    <a:lnTo>
                      <a:pt x="58" y="193"/>
                    </a:lnTo>
                    <a:lnTo>
                      <a:pt x="38" y="180"/>
                    </a:lnTo>
                    <a:lnTo>
                      <a:pt x="22" y="165"/>
                    </a:lnTo>
                    <a:lnTo>
                      <a:pt x="10" y="145"/>
                    </a:lnTo>
                    <a:lnTo>
                      <a:pt x="3" y="125"/>
                    </a:lnTo>
                    <a:lnTo>
                      <a:pt x="0" y="101"/>
                    </a:lnTo>
                    <a:lnTo>
                      <a:pt x="3" y="78"/>
                    </a:lnTo>
                    <a:lnTo>
                      <a:pt x="10" y="56"/>
                    </a:lnTo>
                    <a:lnTo>
                      <a:pt x="22" y="38"/>
                    </a:lnTo>
                    <a:lnTo>
                      <a:pt x="38" y="22"/>
                    </a:lnTo>
                    <a:lnTo>
                      <a:pt x="58" y="10"/>
                    </a:lnTo>
                    <a:lnTo>
                      <a:pt x="78" y="2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59" name="Group 148"/>
            <p:cNvGrpSpPr>
              <a:grpSpLocks noChangeAspect="1"/>
            </p:cNvGrpSpPr>
            <p:nvPr/>
          </p:nvGrpSpPr>
          <p:grpSpPr bwMode="auto">
            <a:xfrm>
              <a:off x="977576" y="1263811"/>
              <a:ext cx="168341" cy="250408"/>
              <a:chOff x="5748" y="2786"/>
              <a:chExt cx="202" cy="243"/>
            </a:xfrm>
          </p:grpSpPr>
          <p:sp>
            <p:nvSpPr>
              <p:cNvPr id="73" name="Freeform 150"/>
              <p:cNvSpPr>
                <a:spLocks noEditPoints="1"/>
              </p:cNvSpPr>
              <p:nvPr/>
            </p:nvSpPr>
            <p:spPr bwMode="auto">
              <a:xfrm>
                <a:off x="5748" y="2786"/>
                <a:ext cx="202" cy="243"/>
              </a:xfrm>
              <a:custGeom>
                <a:avLst/>
                <a:gdLst>
                  <a:gd name="T0" fmla="*/ 0 w 2742"/>
                  <a:gd name="T1" fmla="*/ 0 h 3361"/>
                  <a:gd name="T2" fmla="*/ 0 w 2742"/>
                  <a:gd name="T3" fmla="*/ 0 h 3361"/>
                  <a:gd name="T4" fmla="*/ 0 w 2742"/>
                  <a:gd name="T5" fmla="*/ 0 h 3361"/>
                  <a:gd name="T6" fmla="*/ 0 w 2742"/>
                  <a:gd name="T7" fmla="*/ 0 h 3361"/>
                  <a:gd name="T8" fmla="*/ 0 w 2742"/>
                  <a:gd name="T9" fmla="*/ 0 h 3361"/>
                  <a:gd name="T10" fmla="*/ 0 w 2742"/>
                  <a:gd name="T11" fmla="*/ 0 h 3361"/>
                  <a:gd name="T12" fmla="*/ 0 w 2742"/>
                  <a:gd name="T13" fmla="*/ 0 h 3361"/>
                  <a:gd name="T14" fmla="*/ 0 w 2742"/>
                  <a:gd name="T15" fmla="*/ 0 h 3361"/>
                  <a:gd name="T16" fmla="*/ 0 w 2742"/>
                  <a:gd name="T17" fmla="*/ 0 h 3361"/>
                  <a:gd name="T18" fmla="*/ 0 w 2742"/>
                  <a:gd name="T19" fmla="*/ 0 h 3361"/>
                  <a:gd name="T20" fmla="*/ 0 w 2742"/>
                  <a:gd name="T21" fmla="*/ 0 h 3361"/>
                  <a:gd name="T22" fmla="*/ 0 w 2742"/>
                  <a:gd name="T23" fmla="*/ 0 h 3361"/>
                  <a:gd name="T24" fmla="*/ 0 w 2742"/>
                  <a:gd name="T25" fmla="*/ 0 h 3361"/>
                  <a:gd name="T26" fmla="*/ 0 w 2742"/>
                  <a:gd name="T27" fmla="*/ 0 h 3361"/>
                  <a:gd name="T28" fmla="*/ 0 w 2742"/>
                  <a:gd name="T29" fmla="*/ 0 h 3361"/>
                  <a:gd name="T30" fmla="*/ 0 w 2742"/>
                  <a:gd name="T31" fmla="*/ 0 h 3361"/>
                  <a:gd name="T32" fmla="*/ 0 w 2742"/>
                  <a:gd name="T33" fmla="*/ 0 h 3361"/>
                  <a:gd name="T34" fmla="*/ 0 w 2742"/>
                  <a:gd name="T35" fmla="*/ 0 h 3361"/>
                  <a:gd name="T36" fmla="*/ 0 w 2742"/>
                  <a:gd name="T37" fmla="*/ 0 h 3361"/>
                  <a:gd name="T38" fmla="*/ 0 w 2742"/>
                  <a:gd name="T39" fmla="*/ 0 h 3361"/>
                  <a:gd name="T40" fmla="*/ 0 w 2742"/>
                  <a:gd name="T41" fmla="*/ 0 h 3361"/>
                  <a:gd name="T42" fmla="*/ 0 w 2742"/>
                  <a:gd name="T43" fmla="*/ 0 h 3361"/>
                  <a:gd name="T44" fmla="*/ 0 w 2742"/>
                  <a:gd name="T45" fmla="*/ 0 h 3361"/>
                  <a:gd name="T46" fmla="*/ 0 w 2742"/>
                  <a:gd name="T47" fmla="*/ 0 h 3361"/>
                  <a:gd name="T48" fmla="*/ 0 w 2742"/>
                  <a:gd name="T49" fmla="*/ 0 h 3361"/>
                  <a:gd name="T50" fmla="*/ 0 w 2742"/>
                  <a:gd name="T51" fmla="*/ 0 h 3361"/>
                  <a:gd name="T52" fmla="*/ 0 w 2742"/>
                  <a:gd name="T53" fmla="*/ 0 h 3361"/>
                  <a:gd name="T54" fmla="*/ 0 w 2742"/>
                  <a:gd name="T55" fmla="*/ 0 h 3361"/>
                  <a:gd name="T56" fmla="*/ 0 w 2742"/>
                  <a:gd name="T57" fmla="*/ 0 h 3361"/>
                  <a:gd name="T58" fmla="*/ 0 w 2742"/>
                  <a:gd name="T59" fmla="*/ 0 h 3361"/>
                  <a:gd name="T60" fmla="*/ 0 w 2742"/>
                  <a:gd name="T61" fmla="*/ 0 h 3361"/>
                  <a:gd name="T62" fmla="*/ 0 w 2742"/>
                  <a:gd name="T63" fmla="*/ 0 h 3361"/>
                  <a:gd name="T64" fmla="*/ 0 w 2742"/>
                  <a:gd name="T65" fmla="*/ 0 h 3361"/>
                  <a:gd name="T66" fmla="*/ 0 w 2742"/>
                  <a:gd name="T67" fmla="*/ 0 h 3361"/>
                  <a:gd name="T68" fmla="*/ 0 w 2742"/>
                  <a:gd name="T69" fmla="*/ 0 h 3361"/>
                  <a:gd name="T70" fmla="*/ 0 w 2742"/>
                  <a:gd name="T71" fmla="*/ 0 h 3361"/>
                  <a:gd name="T72" fmla="*/ 0 w 2742"/>
                  <a:gd name="T73" fmla="*/ 0 h 3361"/>
                  <a:gd name="T74" fmla="*/ 0 w 2742"/>
                  <a:gd name="T75" fmla="*/ 0 h 3361"/>
                  <a:gd name="T76" fmla="*/ 0 w 2742"/>
                  <a:gd name="T77" fmla="*/ 0 h 3361"/>
                  <a:gd name="T78" fmla="*/ 0 w 2742"/>
                  <a:gd name="T79" fmla="*/ 0 h 3361"/>
                  <a:gd name="T80" fmla="*/ 0 w 2742"/>
                  <a:gd name="T81" fmla="*/ 0 h 3361"/>
                  <a:gd name="T82" fmla="*/ 0 w 2742"/>
                  <a:gd name="T83" fmla="*/ 0 h 3361"/>
                  <a:gd name="T84" fmla="*/ 0 w 2742"/>
                  <a:gd name="T85" fmla="*/ 0 h 3361"/>
                  <a:gd name="T86" fmla="*/ 0 w 2742"/>
                  <a:gd name="T87" fmla="*/ 0 h 3361"/>
                  <a:gd name="T88" fmla="*/ 0 w 2742"/>
                  <a:gd name="T89" fmla="*/ 0 h 3361"/>
                  <a:gd name="T90" fmla="*/ 0 w 2742"/>
                  <a:gd name="T91" fmla="*/ 0 h 3361"/>
                  <a:gd name="T92" fmla="*/ 0 w 2742"/>
                  <a:gd name="T93" fmla="*/ 0 h 3361"/>
                  <a:gd name="T94" fmla="*/ 0 w 2742"/>
                  <a:gd name="T95" fmla="*/ 0 h 3361"/>
                  <a:gd name="T96" fmla="*/ 0 w 2742"/>
                  <a:gd name="T97" fmla="*/ 0 h 3361"/>
                  <a:gd name="T98" fmla="*/ 0 w 2742"/>
                  <a:gd name="T99" fmla="*/ 0 h 3361"/>
                  <a:gd name="T100" fmla="*/ 0 w 2742"/>
                  <a:gd name="T101" fmla="*/ 0 h 3361"/>
                  <a:gd name="T102" fmla="*/ 0 w 2742"/>
                  <a:gd name="T103" fmla="*/ 0 h 3361"/>
                  <a:gd name="T104" fmla="*/ 0 w 2742"/>
                  <a:gd name="T105" fmla="*/ 0 h 3361"/>
                  <a:gd name="T106" fmla="*/ 0 w 2742"/>
                  <a:gd name="T107" fmla="*/ 0 h 3361"/>
                  <a:gd name="T108" fmla="*/ 0 w 2742"/>
                  <a:gd name="T109" fmla="*/ 0 h 3361"/>
                  <a:gd name="T110" fmla="*/ 0 w 2742"/>
                  <a:gd name="T111" fmla="*/ 0 h 3361"/>
                  <a:gd name="T112" fmla="*/ 0 w 2742"/>
                  <a:gd name="T113" fmla="*/ 0 h 3361"/>
                  <a:gd name="T114" fmla="*/ 0 w 2742"/>
                  <a:gd name="T115" fmla="*/ 0 h 3361"/>
                  <a:gd name="T116" fmla="*/ 0 w 2742"/>
                  <a:gd name="T117" fmla="*/ 0 h 336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742"/>
                  <a:gd name="T178" fmla="*/ 0 h 3361"/>
                  <a:gd name="T179" fmla="*/ 2742 w 2742"/>
                  <a:gd name="T180" fmla="*/ 3361 h 336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742" h="3361">
                    <a:moveTo>
                      <a:pt x="239" y="727"/>
                    </a:moveTo>
                    <a:lnTo>
                      <a:pt x="225" y="729"/>
                    </a:lnTo>
                    <a:lnTo>
                      <a:pt x="215" y="736"/>
                    </a:lnTo>
                    <a:lnTo>
                      <a:pt x="207" y="747"/>
                    </a:lnTo>
                    <a:lnTo>
                      <a:pt x="205" y="761"/>
                    </a:lnTo>
                    <a:lnTo>
                      <a:pt x="205" y="3123"/>
                    </a:lnTo>
                    <a:lnTo>
                      <a:pt x="207" y="3136"/>
                    </a:lnTo>
                    <a:lnTo>
                      <a:pt x="215" y="3147"/>
                    </a:lnTo>
                    <a:lnTo>
                      <a:pt x="225" y="3154"/>
                    </a:lnTo>
                    <a:lnTo>
                      <a:pt x="239" y="3157"/>
                    </a:lnTo>
                    <a:lnTo>
                      <a:pt x="2040" y="3157"/>
                    </a:lnTo>
                    <a:lnTo>
                      <a:pt x="2054" y="3154"/>
                    </a:lnTo>
                    <a:lnTo>
                      <a:pt x="2064" y="3147"/>
                    </a:lnTo>
                    <a:lnTo>
                      <a:pt x="2071" y="3136"/>
                    </a:lnTo>
                    <a:lnTo>
                      <a:pt x="2074" y="3123"/>
                    </a:lnTo>
                    <a:lnTo>
                      <a:pt x="2074" y="761"/>
                    </a:lnTo>
                    <a:lnTo>
                      <a:pt x="2071" y="747"/>
                    </a:lnTo>
                    <a:lnTo>
                      <a:pt x="2064" y="736"/>
                    </a:lnTo>
                    <a:lnTo>
                      <a:pt x="2054" y="729"/>
                    </a:lnTo>
                    <a:lnTo>
                      <a:pt x="2040" y="727"/>
                    </a:lnTo>
                    <a:lnTo>
                      <a:pt x="239" y="727"/>
                    </a:lnTo>
                    <a:close/>
                    <a:moveTo>
                      <a:pt x="702" y="204"/>
                    </a:moveTo>
                    <a:lnTo>
                      <a:pt x="688" y="207"/>
                    </a:lnTo>
                    <a:lnTo>
                      <a:pt x="678" y="214"/>
                    </a:lnTo>
                    <a:lnTo>
                      <a:pt x="671" y="225"/>
                    </a:lnTo>
                    <a:lnTo>
                      <a:pt x="668" y="238"/>
                    </a:lnTo>
                    <a:lnTo>
                      <a:pt x="668" y="523"/>
                    </a:lnTo>
                    <a:lnTo>
                      <a:pt x="2040" y="523"/>
                    </a:lnTo>
                    <a:lnTo>
                      <a:pt x="2078" y="526"/>
                    </a:lnTo>
                    <a:lnTo>
                      <a:pt x="2116" y="535"/>
                    </a:lnTo>
                    <a:lnTo>
                      <a:pt x="2150" y="549"/>
                    </a:lnTo>
                    <a:lnTo>
                      <a:pt x="2181" y="568"/>
                    </a:lnTo>
                    <a:lnTo>
                      <a:pt x="2209" y="592"/>
                    </a:lnTo>
                    <a:lnTo>
                      <a:pt x="2232" y="620"/>
                    </a:lnTo>
                    <a:lnTo>
                      <a:pt x="2252" y="651"/>
                    </a:lnTo>
                    <a:lnTo>
                      <a:pt x="2266" y="686"/>
                    </a:lnTo>
                    <a:lnTo>
                      <a:pt x="2276" y="722"/>
                    </a:lnTo>
                    <a:lnTo>
                      <a:pt x="2279" y="761"/>
                    </a:lnTo>
                    <a:lnTo>
                      <a:pt x="2279" y="2634"/>
                    </a:lnTo>
                    <a:lnTo>
                      <a:pt x="2503" y="2634"/>
                    </a:lnTo>
                    <a:lnTo>
                      <a:pt x="2517" y="2632"/>
                    </a:lnTo>
                    <a:lnTo>
                      <a:pt x="2528" y="2624"/>
                    </a:lnTo>
                    <a:lnTo>
                      <a:pt x="2535" y="2614"/>
                    </a:lnTo>
                    <a:lnTo>
                      <a:pt x="2537" y="2600"/>
                    </a:lnTo>
                    <a:lnTo>
                      <a:pt x="2537" y="238"/>
                    </a:lnTo>
                    <a:lnTo>
                      <a:pt x="2535" y="225"/>
                    </a:lnTo>
                    <a:lnTo>
                      <a:pt x="2528" y="214"/>
                    </a:lnTo>
                    <a:lnTo>
                      <a:pt x="2517" y="207"/>
                    </a:lnTo>
                    <a:lnTo>
                      <a:pt x="2503" y="204"/>
                    </a:lnTo>
                    <a:lnTo>
                      <a:pt x="702" y="204"/>
                    </a:lnTo>
                    <a:close/>
                    <a:moveTo>
                      <a:pt x="702" y="0"/>
                    </a:moveTo>
                    <a:lnTo>
                      <a:pt x="2503" y="0"/>
                    </a:lnTo>
                    <a:lnTo>
                      <a:pt x="2542" y="3"/>
                    </a:lnTo>
                    <a:lnTo>
                      <a:pt x="2579" y="13"/>
                    </a:lnTo>
                    <a:lnTo>
                      <a:pt x="2613" y="27"/>
                    </a:lnTo>
                    <a:lnTo>
                      <a:pt x="2645" y="47"/>
                    </a:lnTo>
                    <a:lnTo>
                      <a:pt x="2673" y="70"/>
                    </a:lnTo>
                    <a:lnTo>
                      <a:pt x="2696" y="98"/>
                    </a:lnTo>
                    <a:lnTo>
                      <a:pt x="2716" y="129"/>
                    </a:lnTo>
                    <a:lnTo>
                      <a:pt x="2731" y="163"/>
                    </a:lnTo>
                    <a:lnTo>
                      <a:pt x="2739" y="200"/>
                    </a:lnTo>
                    <a:lnTo>
                      <a:pt x="2742" y="238"/>
                    </a:lnTo>
                    <a:lnTo>
                      <a:pt x="2742" y="2600"/>
                    </a:lnTo>
                    <a:lnTo>
                      <a:pt x="2739" y="2639"/>
                    </a:lnTo>
                    <a:lnTo>
                      <a:pt x="2731" y="2675"/>
                    </a:lnTo>
                    <a:lnTo>
                      <a:pt x="2716" y="2709"/>
                    </a:lnTo>
                    <a:lnTo>
                      <a:pt x="2696" y="2741"/>
                    </a:lnTo>
                    <a:lnTo>
                      <a:pt x="2673" y="2768"/>
                    </a:lnTo>
                    <a:lnTo>
                      <a:pt x="2645" y="2792"/>
                    </a:lnTo>
                    <a:lnTo>
                      <a:pt x="2613" y="2811"/>
                    </a:lnTo>
                    <a:lnTo>
                      <a:pt x="2579" y="2825"/>
                    </a:lnTo>
                    <a:lnTo>
                      <a:pt x="2542" y="2835"/>
                    </a:lnTo>
                    <a:lnTo>
                      <a:pt x="2503" y="2838"/>
                    </a:lnTo>
                    <a:lnTo>
                      <a:pt x="2279" y="2838"/>
                    </a:lnTo>
                    <a:lnTo>
                      <a:pt x="2279" y="3123"/>
                    </a:lnTo>
                    <a:lnTo>
                      <a:pt x="2276" y="3161"/>
                    </a:lnTo>
                    <a:lnTo>
                      <a:pt x="2266" y="3197"/>
                    </a:lnTo>
                    <a:lnTo>
                      <a:pt x="2252" y="3232"/>
                    </a:lnTo>
                    <a:lnTo>
                      <a:pt x="2232" y="3263"/>
                    </a:lnTo>
                    <a:lnTo>
                      <a:pt x="2209" y="3291"/>
                    </a:lnTo>
                    <a:lnTo>
                      <a:pt x="2181" y="3314"/>
                    </a:lnTo>
                    <a:lnTo>
                      <a:pt x="2150" y="3334"/>
                    </a:lnTo>
                    <a:lnTo>
                      <a:pt x="2116" y="3348"/>
                    </a:lnTo>
                    <a:lnTo>
                      <a:pt x="2078" y="3356"/>
                    </a:lnTo>
                    <a:lnTo>
                      <a:pt x="2040" y="3361"/>
                    </a:lnTo>
                    <a:lnTo>
                      <a:pt x="239" y="3361"/>
                    </a:lnTo>
                    <a:lnTo>
                      <a:pt x="199" y="3356"/>
                    </a:lnTo>
                    <a:lnTo>
                      <a:pt x="163" y="3348"/>
                    </a:lnTo>
                    <a:lnTo>
                      <a:pt x="129" y="3334"/>
                    </a:lnTo>
                    <a:lnTo>
                      <a:pt x="97" y="3314"/>
                    </a:lnTo>
                    <a:lnTo>
                      <a:pt x="69" y="3291"/>
                    </a:lnTo>
                    <a:lnTo>
                      <a:pt x="45" y="3263"/>
                    </a:lnTo>
                    <a:lnTo>
                      <a:pt x="27" y="3232"/>
                    </a:lnTo>
                    <a:lnTo>
                      <a:pt x="12" y="3197"/>
                    </a:lnTo>
                    <a:lnTo>
                      <a:pt x="3" y="3161"/>
                    </a:lnTo>
                    <a:lnTo>
                      <a:pt x="0" y="3123"/>
                    </a:lnTo>
                    <a:lnTo>
                      <a:pt x="0" y="761"/>
                    </a:lnTo>
                    <a:lnTo>
                      <a:pt x="3" y="722"/>
                    </a:lnTo>
                    <a:lnTo>
                      <a:pt x="12" y="686"/>
                    </a:lnTo>
                    <a:lnTo>
                      <a:pt x="27" y="651"/>
                    </a:lnTo>
                    <a:lnTo>
                      <a:pt x="45" y="620"/>
                    </a:lnTo>
                    <a:lnTo>
                      <a:pt x="69" y="592"/>
                    </a:lnTo>
                    <a:lnTo>
                      <a:pt x="97" y="568"/>
                    </a:lnTo>
                    <a:lnTo>
                      <a:pt x="129" y="549"/>
                    </a:lnTo>
                    <a:lnTo>
                      <a:pt x="163" y="535"/>
                    </a:lnTo>
                    <a:lnTo>
                      <a:pt x="199" y="526"/>
                    </a:lnTo>
                    <a:lnTo>
                      <a:pt x="239" y="523"/>
                    </a:lnTo>
                    <a:lnTo>
                      <a:pt x="463" y="523"/>
                    </a:lnTo>
                    <a:lnTo>
                      <a:pt x="463" y="238"/>
                    </a:lnTo>
                    <a:lnTo>
                      <a:pt x="466" y="200"/>
                    </a:lnTo>
                    <a:lnTo>
                      <a:pt x="475" y="163"/>
                    </a:lnTo>
                    <a:lnTo>
                      <a:pt x="490" y="129"/>
                    </a:lnTo>
                    <a:lnTo>
                      <a:pt x="510" y="98"/>
                    </a:lnTo>
                    <a:lnTo>
                      <a:pt x="533" y="70"/>
                    </a:lnTo>
                    <a:lnTo>
                      <a:pt x="561" y="47"/>
                    </a:lnTo>
                    <a:lnTo>
                      <a:pt x="592" y="27"/>
                    </a:lnTo>
                    <a:lnTo>
                      <a:pt x="626" y="13"/>
                    </a:lnTo>
                    <a:lnTo>
                      <a:pt x="664" y="3"/>
                    </a:lnTo>
                    <a:lnTo>
                      <a:pt x="7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4" name="Freeform 151"/>
              <p:cNvSpPr>
                <a:spLocks/>
              </p:cNvSpPr>
              <p:nvPr/>
            </p:nvSpPr>
            <p:spPr bwMode="auto">
              <a:xfrm>
                <a:off x="5778" y="2856"/>
                <a:ext cx="92" cy="13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3"/>
                    </a:lnTo>
                    <a:lnTo>
                      <a:pt x="1311" y="10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8"/>
                    </a:lnTo>
                    <a:lnTo>
                      <a:pt x="1366" y="79"/>
                    </a:lnTo>
                    <a:lnTo>
                      <a:pt x="1369" y="102"/>
                    </a:lnTo>
                    <a:lnTo>
                      <a:pt x="1366" y="125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2"/>
                    </a:lnTo>
                    <a:lnTo>
                      <a:pt x="1311" y="193"/>
                    </a:lnTo>
                    <a:lnTo>
                      <a:pt x="1290" y="201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1"/>
                    </a:lnTo>
                    <a:lnTo>
                      <a:pt x="58" y="193"/>
                    </a:lnTo>
                    <a:lnTo>
                      <a:pt x="38" y="182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5"/>
                    </a:lnTo>
                    <a:lnTo>
                      <a:pt x="0" y="102"/>
                    </a:lnTo>
                    <a:lnTo>
                      <a:pt x="3" y="79"/>
                    </a:lnTo>
                    <a:lnTo>
                      <a:pt x="10" y="58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0"/>
                    </a:lnTo>
                    <a:lnTo>
                      <a:pt x="78" y="3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5" name="Freeform 152"/>
              <p:cNvSpPr>
                <a:spLocks/>
              </p:cNvSpPr>
              <p:nvPr/>
            </p:nvSpPr>
            <p:spPr bwMode="auto">
              <a:xfrm>
                <a:off x="5778" y="2886"/>
                <a:ext cx="92" cy="14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3"/>
                    </a:lnTo>
                    <a:lnTo>
                      <a:pt x="1311" y="11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8"/>
                    </a:lnTo>
                    <a:lnTo>
                      <a:pt x="1366" y="78"/>
                    </a:lnTo>
                    <a:lnTo>
                      <a:pt x="1369" y="102"/>
                    </a:lnTo>
                    <a:lnTo>
                      <a:pt x="1366" y="126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1"/>
                    </a:lnTo>
                    <a:lnTo>
                      <a:pt x="1311" y="193"/>
                    </a:lnTo>
                    <a:lnTo>
                      <a:pt x="1290" y="202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2"/>
                    </a:lnTo>
                    <a:lnTo>
                      <a:pt x="58" y="193"/>
                    </a:lnTo>
                    <a:lnTo>
                      <a:pt x="38" y="181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6"/>
                    </a:lnTo>
                    <a:lnTo>
                      <a:pt x="0" y="102"/>
                    </a:lnTo>
                    <a:lnTo>
                      <a:pt x="3" y="78"/>
                    </a:lnTo>
                    <a:lnTo>
                      <a:pt x="10" y="58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1"/>
                    </a:lnTo>
                    <a:lnTo>
                      <a:pt x="78" y="3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6" name="Freeform 153"/>
              <p:cNvSpPr>
                <a:spLocks/>
              </p:cNvSpPr>
              <p:nvPr/>
            </p:nvSpPr>
            <p:spPr bwMode="auto">
              <a:xfrm>
                <a:off x="5778" y="2917"/>
                <a:ext cx="92" cy="13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4"/>
                    </a:lnTo>
                    <a:lnTo>
                      <a:pt x="1311" y="11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7"/>
                    </a:lnTo>
                    <a:lnTo>
                      <a:pt x="1366" y="79"/>
                    </a:lnTo>
                    <a:lnTo>
                      <a:pt x="1369" y="102"/>
                    </a:lnTo>
                    <a:lnTo>
                      <a:pt x="1366" y="126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1"/>
                    </a:lnTo>
                    <a:lnTo>
                      <a:pt x="1311" y="194"/>
                    </a:lnTo>
                    <a:lnTo>
                      <a:pt x="1290" y="201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1"/>
                    </a:lnTo>
                    <a:lnTo>
                      <a:pt x="58" y="194"/>
                    </a:lnTo>
                    <a:lnTo>
                      <a:pt x="38" y="181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6"/>
                    </a:lnTo>
                    <a:lnTo>
                      <a:pt x="0" y="102"/>
                    </a:lnTo>
                    <a:lnTo>
                      <a:pt x="3" y="79"/>
                    </a:lnTo>
                    <a:lnTo>
                      <a:pt x="10" y="57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1"/>
                    </a:lnTo>
                    <a:lnTo>
                      <a:pt x="78" y="4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7" name="Freeform 154"/>
              <p:cNvSpPr>
                <a:spLocks/>
              </p:cNvSpPr>
              <p:nvPr/>
            </p:nvSpPr>
            <p:spPr bwMode="auto">
              <a:xfrm>
                <a:off x="5778" y="2947"/>
                <a:ext cx="92" cy="14"/>
              </a:xfrm>
              <a:custGeom>
                <a:avLst/>
                <a:gdLst>
                  <a:gd name="T0" fmla="*/ 0 w 1369"/>
                  <a:gd name="T1" fmla="*/ 0 h 203"/>
                  <a:gd name="T2" fmla="*/ 0 w 1369"/>
                  <a:gd name="T3" fmla="*/ 0 h 203"/>
                  <a:gd name="T4" fmla="*/ 0 w 1369"/>
                  <a:gd name="T5" fmla="*/ 0 h 203"/>
                  <a:gd name="T6" fmla="*/ 0 w 1369"/>
                  <a:gd name="T7" fmla="*/ 0 h 203"/>
                  <a:gd name="T8" fmla="*/ 0 w 1369"/>
                  <a:gd name="T9" fmla="*/ 0 h 203"/>
                  <a:gd name="T10" fmla="*/ 0 w 1369"/>
                  <a:gd name="T11" fmla="*/ 0 h 203"/>
                  <a:gd name="T12" fmla="*/ 0 w 1369"/>
                  <a:gd name="T13" fmla="*/ 0 h 203"/>
                  <a:gd name="T14" fmla="*/ 0 w 1369"/>
                  <a:gd name="T15" fmla="*/ 0 h 203"/>
                  <a:gd name="T16" fmla="*/ 0 w 1369"/>
                  <a:gd name="T17" fmla="*/ 0 h 203"/>
                  <a:gd name="T18" fmla="*/ 0 w 1369"/>
                  <a:gd name="T19" fmla="*/ 0 h 203"/>
                  <a:gd name="T20" fmla="*/ 0 w 1369"/>
                  <a:gd name="T21" fmla="*/ 0 h 203"/>
                  <a:gd name="T22" fmla="*/ 0 w 1369"/>
                  <a:gd name="T23" fmla="*/ 0 h 203"/>
                  <a:gd name="T24" fmla="*/ 0 w 1369"/>
                  <a:gd name="T25" fmla="*/ 0 h 203"/>
                  <a:gd name="T26" fmla="*/ 0 w 1369"/>
                  <a:gd name="T27" fmla="*/ 0 h 203"/>
                  <a:gd name="T28" fmla="*/ 0 w 1369"/>
                  <a:gd name="T29" fmla="*/ 0 h 203"/>
                  <a:gd name="T30" fmla="*/ 0 w 1369"/>
                  <a:gd name="T31" fmla="*/ 0 h 203"/>
                  <a:gd name="T32" fmla="*/ 0 w 1369"/>
                  <a:gd name="T33" fmla="*/ 0 h 203"/>
                  <a:gd name="T34" fmla="*/ 0 w 1369"/>
                  <a:gd name="T35" fmla="*/ 0 h 203"/>
                  <a:gd name="T36" fmla="*/ 0 w 1369"/>
                  <a:gd name="T37" fmla="*/ 0 h 203"/>
                  <a:gd name="T38" fmla="*/ 0 w 1369"/>
                  <a:gd name="T39" fmla="*/ 0 h 203"/>
                  <a:gd name="T40" fmla="*/ 0 w 1369"/>
                  <a:gd name="T41" fmla="*/ 0 h 203"/>
                  <a:gd name="T42" fmla="*/ 0 w 1369"/>
                  <a:gd name="T43" fmla="*/ 0 h 203"/>
                  <a:gd name="T44" fmla="*/ 0 w 1369"/>
                  <a:gd name="T45" fmla="*/ 0 h 203"/>
                  <a:gd name="T46" fmla="*/ 0 w 1369"/>
                  <a:gd name="T47" fmla="*/ 0 h 203"/>
                  <a:gd name="T48" fmla="*/ 0 w 1369"/>
                  <a:gd name="T49" fmla="*/ 0 h 203"/>
                  <a:gd name="T50" fmla="*/ 0 w 1369"/>
                  <a:gd name="T51" fmla="*/ 0 h 203"/>
                  <a:gd name="T52" fmla="*/ 0 w 1369"/>
                  <a:gd name="T53" fmla="*/ 0 h 203"/>
                  <a:gd name="T54" fmla="*/ 0 w 1369"/>
                  <a:gd name="T55" fmla="*/ 0 h 203"/>
                  <a:gd name="T56" fmla="*/ 0 w 1369"/>
                  <a:gd name="T57" fmla="*/ 0 h 203"/>
                  <a:gd name="T58" fmla="*/ 0 w 1369"/>
                  <a:gd name="T59" fmla="*/ 0 h 203"/>
                  <a:gd name="T60" fmla="*/ 0 w 1369"/>
                  <a:gd name="T61" fmla="*/ 0 h 20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3"/>
                  <a:gd name="T95" fmla="*/ 1369 w 1369"/>
                  <a:gd name="T96" fmla="*/ 203 h 20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3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2"/>
                    </a:lnTo>
                    <a:lnTo>
                      <a:pt x="1311" y="10"/>
                    </a:lnTo>
                    <a:lnTo>
                      <a:pt x="1331" y="22"/>
                    </a:lnTo>
                    <a:lnTo>
                      <a:pt x="1346" y="38"/>
                    </a:lnTo>
                    <a:lnTo>
                      <a:pt x="1359" y="56"/>
                    </a:lnTo>
                    <a:lnTo>
                      <a:pt x="1366" y="78"/>
                    </a:lnTo>
                    <a:lnTo>
                      <a:pt x="1369" y="101"/>
                    </a:lnTo>
                    <a:lnTo>
                      <a:pt x="1366" y="125"/>
                    </a:lnTo>
                    <a:lnTo>
                      <a:pt x="1359" y="145"/>
                    </a:lnTo>
                    <a:lnTo>
                      <a:pt x="1346" y="165"/>
                    </a:lnTo>
                    <a:lnTo>
                      <a:pt x="1331" y="180"/>
                    </a:lnTo>
                    <a:lnTo>
                      <a:pt x="1311" y="193"/>
                    </a:lnTo>
                    <a:lnTo>
                      <a:pt x="1290" y="200"/>
                    </a:lnTo>
                    <a:lnTo>
                      <a:pt x="1267" y="203"/>
                    </a:lnTo>
                    <a:lnTo>
                      <a:pt x="102" y="203"/>
                    </a:lnTo>
                    <a:lnTo>
                      <a:pt x="78" y="200"/>
                    </a:lnTo>
                    <a:lnTo>
                      <a:pt x="58" y="193"/>
                    </a:lnTo>
                    <a:lnTo>
                      <a:pt x="38" y="180"/>
                    </a:lnTo>
                    <a:lnTo>
                      <a:pt x="22" y="165"/>
                    </a:lnTo>
                    <a:lnTo>
                      <a:pt x="10" y="145"/>
                    </a:lnTo>
                    <a:lnTo>
                      <a:pt x="3" y="125"/>
                    </a:lnTo>
                    <a:lnTo>
                      <a:pt x="0" y="101"/>
                    </a:lnTo>
                    <a:lnTo>
                      <a:pt x="3" y="78"/>
                    </a:lnTo>
                    <a:lnTo>
                      <a:pt x="10" y="56"/>
                    </a:lnTo>
                    <a:lnTo>
                      <a:pt x="22" y="38"/>
                    </a:lnTo>
                    <a:lnTo>
                      <a:pt x="38" y="22"/>
                    </a:lnTo>
                    <a:lnTo>
                      <a:pt x="58" y="10"/>
                    </a:lnTo>
                    <a:lnTo>
                      <a:pt x="78" y="2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60" name="Group 148"/>
            <p:cNvGrpSpPr>
              <a:grpSpLocks noChangeAspect="1"/>
            </p:cNvGrpSpPr>
            <p:nvPr/>
          </p:nvGrpSpPr>
          <p:grpSpPr bwMode="auto">
            <a:xfrm>
              <a:off x="629171" y="1358257"/>
              <a:ext cx="119848" cy="178275"/>
              <a:chOff x="5748" y="2786"/>
              <a:chExt cx="202" cy="243"/>
            </a:xfrm>
          </p:grpSpPr>
          <p:sp>
            <p:nvSpPr>
              <p:cNvPr id="68" name="Freeform 150"/>
              <p:cNvSpPr>
                <a:spLocks noEditPoints="1"/>
              </p:cNvSpPr>
              <p:nvPr/>
            </p:nvSpPr>
            <p:spPr bwMode="auto">
              <a:xfrm>
                <a:off x="5748" y="2786"/>
                <a:ext cx="202" cy="243"/>
              </a:xfrm>
              <a:custGeom>
                <a:avLst/>
                <a:gdLst>
                  <a:gd name="T0" fmla="*/ 0 w 2742"/>
                  <a:gd name="T1" fmla="*/ 0 h 3361"/>
                  <a:gd name="T2" fmla="*/ 0 w 2742"/>
                  <a:gd name="T3" fmla="*/ 0 h 3361"/>
                  <a:gd name="T4" fmla="*/ 0 w 2742"/>
                  <a:gd name="T5" fmla="*/ 0 h 3361"/>
                  <a:gd name="T6" fmla="*/ 0 w 2742"/>
                  <a:gd name="T7" fmla="*/ 0 h 3361"/>
                  <a:gd name="T8" fmla="*/ 0 w 2742"/>
                  <a:gd name="T9" fmla="*/ 0 h 3361"/>
                  <a:gd name="T10" fmla="*/ 0 w 2742"/>
                  <a:gd name="T11" fmla="*/ 0 h 3361"/>
                  <a:gd name="T12" fmla="*/ 0 w 2742"/>
                  <a:gd name="T13" fmla="*/ 0 h 3361"/>
                  <a:gd name="T14" fmla="*/ 0 w 2742"/>
                  <a:gd name="T15" fmla="*/ 0 h 3361"/>
                  <a:gd name="T16" fmla="*/ 0 w 2742"/>
                  <a:gd name="T17" fmla="*/ 0 h 3361"/>
                  <a:gd name="T18" fmla="*/ 0 w 2742"/>
                  <a:gd name="T19" fmla="*/ 0 h 3361"/>
                  <a:gd name="T20" fmla="*/ 0 w 2742"/>
                  <a:gd name="T21" fmla="*/ 0 h 3361"/>
                  <a:gd name="T22" fmla="*/ 0 w 2742"/>
                  <a:gd name="T23" fmla="*/ 0 h 3361"/>
                  <a:gd name="T24" fmla="*/ 0 w 2742"/>
                  <a:gd name="T25" fmla="*/ 0 h 3361"/>
                  <a:gd name="T26" fmla="*/ 0 w 2742"/>
                  <a:gd name="T27" fmla="*/ 0 h 3361"/>
                  <a:gd name="T28" fmla="*/ 0 w 2742"/>
                  <a:gd name="T29" fmla="*/ 0 h 3361"/>
                  <a:gd name="T30" fmla="*/ 0 w 2742"/>
                  <a:gd name="T31" fmla="*/ 0 h 3361"/>
                  <a:gd name="T32" fmla="*/ 0 w 2742"/>
                  <a:gd name="T33" fmla="*/ 0 h 3361"/>
                  <a:gd name="T34" fmla="*/ 0 w 2742"/>
                  <a:gd name="T35" fmla="*/ 0 h 3361"/>
                  <a:gd name="T36" fmla="*/ 0 w 2742"/>
                  <a:gd name="T37" fmla="*/ 0 h 3361"/>
                  <a:gd name="T38" fmla="*/ 0 w 2742"/>
                  <a:gd name="T39" fmla="*/ 0 h 3361"/>
                  <a:gd name="T40" fmla="*/ 0 w 2742"/>
                  <a:gd name="T41" fmla="*/ 0 h 3361"/>
                  <a:gd name="T42" fmla="*/ 0 w 2742"/>
                  <a:gd name="T43" fmla="*/ 0 h 3361"/>
                  <a:gd name="T44" fmla="*/ 0 w 2742"/>
                  <a:gd name="T45" fmla="*/ 0 h 3361"/>
                  <a:gd name="T46" fmla="*/ 0 w 2742"/>
                  <a:gd name="T47" fmla="*/ 0 h 3361"/>
                  <a:gd name="T48" fmla="*/ 0 w 2742"/>
                  <a:gd name="T49" fmla="*/ 0 h 3361"/>
                  <a:gd name="T50" fmla="*/ 0 w 2742"/>
                  <a:gd name="T51" fmla="*/ 0 h 3361"/>
                  <a:gd name="T52" fmla="*/ 0 w 2742"/>
                  <a:gd name="T53" fmla="*/ 0 h 3361"/>
                  <a:gd name="T54" fmla="*/ 0 w 2742"/>
                  <a:gd name="T55" fmla="*/ 0 h 3361"/>
                  <a:gd name="T56" fmla="*/ 0 w 2742"/>
                  <a:gd name="T57" fmla="*/ 0 h 3361"/>
                  <a:gd name="T58" fmla="*/ 0 w 2742"/>
                  <a:gd name="T59" fmla="*/ 0 h 3361"/>
                  <a:gd name="T60" fmla="*/ 0 w 2742"/>
                  <a:gd name="T61" fmla="*/ 0 h 3361"/>
                  <a:gd name="T62" fmla="*/ 0 w 2742"/>
                  <a:gd name="T63" fmla="*/ 0 h 3361"/>
                  <a:gd name="T64" fmla="*/ 0 w 2742"/>
                  <a:gd name="T65" fmla="*/ 0 h 3361"/>
                  <a:gd name="T66" fmla="*/ 0 w 2742"/>
                  <a:gd name="T67" fmla="*/ 0 h 3361"/>
                  <a:gd name="T68" fmla="*/ 0 w 2742"/>
                  <a:gd name="T69" fmla="*/ 0 h 3361"/>
                  <a:gd name="T70" fmla="*/ 0 w 2742"/>
                  <a:gd name="T71" fmla="*/ 0 h 3361"/>
                  <a:gd name="T72" fmla="*/ 0 w 2742"/>
                  <a:gd name="T73" fmla="*/ 0 h 3361"/>
                  <a:gd name="T74" fmla="*/ 0 w 2742"/>
                  <a:gd name="T75" fmla="*/ 0 h 3361"/>
                  <a:gd name="T76" fmla="*/ 0 w 2742"/>
                  <a:gd name="T77" fmla="*/ 0 h 3361"/>
                  <a:gd name="T78" fmla="*/ 0 w 2742"/>
                  <a:gd name="T79" fmla="*/ 0 h 3361"/>
                  <a:gd name="T80" fmla="*/ 0 w 2742"/>
                  <a:gd name="T81" fmla="*/ 0 h 3361"/>
                  <a:gd name="T82" fmla="*/ 0 w 2742"/>
                  <a:gd name="T83" fmla="*/ 0 h 3361"/>
                  <a:gd name="T84" fmla="*/ 0 w 2742"/>
                  <a:gd name="T85" fmla="*/ 0 h 3361"/>
                  <a:gd name="T86" fmla="*/ 0 w 2742"/>
                  <a:gd name="T87" fmla="*/ 0 h 3361"/>
                  <a:gd name="T88" fmla="*/ 0 w 2742"/>
                  <a:gd name="T89" fmla="*/ 0 h 3361"/>
                  <a:gd name="T90" fmla="*/ 0 w 2742"/>
                  <a:gd name="T91" fmla="*/ 0 h 3361"/>
                  <a:gd name="T92" fmla="*/ 0 w 2742"/>
                  <a:gd name="T93" fmla="*/ 0 h 3361"/>
                  <a:gd name="T94" fmla="*/ 0 w 2742"/>
                  <a:gd name="T95" fmla="*/ 0 h 3361"/>
                  <a:gd name="T96" fmla="*/ 0 w 2742"/>
                  <a:gd name="T97" fmla="*/ 0 h 3361"/>
                  <a:gd name="T98" fmla="*/ 0 w 2742"/>
                  <a:gd name="T99" fmla="*/ 0 h 3361"/>
                  <a:gd name="T100" fmla="*/ 0 w 2742"/>
                  <a:gd name="T101" fmla="*/ 0 h 3361"/>
                  <a:gd name="T102" fmla="*/ 0 w 2742"/>
                  <a:gd name="T103" fmla="*/ 0 h 3361"/>
                  <a:gd name="T104" fmla="*/ 0 w 2742"/>
                  <a:gd name="T105" fmla="*/ 0 h 3361"/>
                  <a:gd name="T106" fmla="*/ 0 w 2742"/>
                  <a:gd name="T107" fmla="*/ 0 h 3361"/>
                  <a:gd name="T108" fmla="*/ 0 w 2742"/>
                  <a:gd name="T109" fmla="*/ 0 h 3361"/>
                  <a:gd name="T110" fmla="*/ 0 w 2742"/>
                  <a:gd name="T111" fmla="*/ 0 h 3361"/>
                  <a:gd name="T112" fmla="*/ 0 w 2742"/>
                  <a:gd name="T113" fmla="*/ 0 h 3361"/>
                  <a:gd name="T114" fmla="*/ 0 w 2742"/>
                  <a:gd name="T115" fmla="*/ 0 h 3361"/>
                  <a:gd name="T116" fmla="*/ 0 w 2742"/>
                  <a:gd name="T117" fmla="*/ 0 h 336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742"/>
                  <a:gd name="T178" fmla="*/ 0 h 3361"/>
                  <a:gd name="T179" fmla="*/ 2742 w 2742"/>
                  <a:gd name="T180" fmla="*/ 3361 h 336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742" h="3361">
                    <a:moveTo>
                      <a:pt x="239" y="727"/>
                    </a:moveTo>
                    <a:lnTo>
                      <a:pt x="225" y="729"/>
                    </a:lnTo>
                    <a:lnTo>
                      <a:pt x="215" y="736"/>
                    </a:lnTo>
                    <a:lnTo>
                      <a:pt x="207" y="747"/>
                    </a:lnTo>
                    <a:lnTo>
                      <a:pt x="205" y="761"/>
                    </a:lnTo>
                    <a:lnTo>
                      <a:pt x="205" y="3123"/>
                    </a:lnTo>
                    <a:lnTo>
                      <a:pt x="207" y="3136"/>
                    </a:lnTo>
                    <a:lnTo>
                      <a:pt x="215" y="3147"/>
                    </a:lnTo>
                    <a:lnTo>
                      <a:pt x="225" y="3154"/>
                    </a:lnTo>
                    <a:lnTo>
                      <a:pt x="239" y="3157"/>
                    </a:lnTo>
                    <a:lnTo>
                      <a:pt x="2040" y="3157"/>
                    </a:lnTo>
                    <a:lnTo>
                      <a:pt x="2054" y="3154"/>
                    </a:lnTo>
                    <a:lnTo>
                      <a:pt x="2064" y="3147"/>
                    </a:lnTo>
                    <a:lnTo>
                      <a:pt x="2071" y="3136"/>
                    </a:lnTo>
                    <a:lnTo>
                      <a:pt x="2074" y="3123"/>
                    </a:lnTo>
                    <a:lnTo>
                      <a:pt x="2074" y="761"/>
                    </a:lnTo>
                    <a:lnTo>
                      <a:pt x="2071" y="747"/>
                    </a:lnTo>
                    <a:lnTo>
                      <a:pt x="2064" y="736"/>
                    </a:lnTo>
                    <a:lnTo>
                      <a:pt x="2054" y="729"/>
                    </a:lnTo>
                    <a:lnTo>
                      <a:pt x="2040" y="727"/>
                    </a:lnTo>
                    <a:lnTo>
                      <a:pt x="239" y="727"/>
                    </a:lnTo>
                    <a:close/>
                    <a:moveTo>
                      <a:pt x="702" y="204"/>
                    </a:moveTo>
                    <a:lnTo>
                      <a:pt x="688" y="207"/>
                    </a:lnTo>
                    <a:lnTo>
                      <a:pt x="678" y="214"/>
                    </a:lnTo>
                    <a:lnTo>
                      <a:pt x="671" y="225"/>
                    </a:lnTo>
                    <a:lnTo>
                      <a:pt x="668" y="238"/>
                    </a:lnTo>
                    <a:lnTo>
                      <a:pt x="668" y="523"/>
                    </a:lnTo>
                    <a:lnTo>
                      <a:pt x="2040" y="523"/>
                    </a:lnTo>
                    <a:lnTo>
                      <a:pt x="2078" y="526"/>
                    </a:lnTo>
                    <a:lnTo>
                      <a:pt x="2116" y="535"/>
                    </a:lnTo>
                    <a:lnTo>
                      <a:pt x="2150" y="549"/>
                    </a:lnTo>
                    <a:lnTo>
                      <a:pt x="2181" y="568"/>
                    </a:lnTo>
                    <a:lnTo>
                      <a:pt x="2209" y="592"/>
                    </a:lnTo>
                    <a:lnTo>
                      <a:pt x="2232" y="620"/>
                    </a:lnTo>
                    <a:lnTo>
                      <a:pt x="2252" y="651"/>
                    </a:lnTo>
                    <a:lnTo>
                      <a:pt x="2266" y="686"/>
                    </a:lnTo>
                    <a:lnTo>
                      <a:pt x="2276" y="722"/>
                    </a:lnTo>
                    <a:lnTo>
                      <a:pt x="2279" y="761"/>
                    </a:lnTo>
                    <a:lnTo>
                      <a:pt x="2279" y="2634"/>
                    </a:lnTo>
                    <a:lnTo>
                      <a:pt x="2503" y="2634"/>
                    </a:lnTo>
                    <a:lnTo>
                      <a:pt x="2517" y="2632"/>
                    </a:lnTo>
                    <a:lnTo>
                      <a:pt x="2528" y="2624"/>
                    </a:lnTo>
                    <a:lnTo>
                      <a:pt x="2535" y="2614"/>
                    </a:lnTo>
                    <a:lnTo>
                      <a:pt x="2537" y="2600"/>
                    </a:lnTo>
                    <a:lnTo>
                      <a:pt x="2537" y="238"/>
                    </a:lnTo>
                    <a:lnTo>
                      <a:pt x="2535" y="225"/>
                    </a:lnTo>
                    <a:lnTo>
                      <a:pt x="2528" y="214"/>
                    </a:lnTo>
                    <a:lnTo>
                      <a:pt x="2517" y="207"/>
                    </a:lnTo>
                    <a:lnTo>
                      <a:pt x="2503" y="204"/>
                    </a:lnTo>
                    <a:lnTo>
                      <a:pt x="702" y="204"/>
                    </a:lnTo>
                    <a:close/>
                    <a:moveTo>
                      <a:pt x="702" y="0"/>
                    </a:moveTo>
                    <a:lnTo>
                      <a:pt x="2503" y="0"/>
                    </a:lnTo>
                    <a:lnTo>
                      <a:pt x="2542" y="3"/>
                    </a:lnTo>
                    <a:lnTo>
                      <a:pt x="2579" y="13"/>
                    </a:lnTo>
                    <a:lnTo>
                      <a:pt x="2613" y="27"/>
                    </a:lnTo>
                    <a:lnTo>
                      <a:pt x="2645" y="47"/>
                    </a:lnTo>
                    <a:lnTo>
                      <a:pt x="2673" y="70"/>
                    </a:lnTo>
                    <a:lnTo>
                      <a:pt x="2696" y="98"/>
                    </a:lnTo>
                    <a:lnTo>
                      <a:pt x="2716" y="129"/>
                    </a:lnTo>
                    <a:lnTo>
                      <a:pt x="2731" y="163"/>
                    </a:lnTo>
                    <a:lnTo>
                      <a:pt x="2739" y="200"/>
                    </a:lnTo>
                    <a:lnTo>
                      <a:pt x="2742" y="238"/>
                    </a:lnTo>
                    <a:lnTo>
                      <a:pt x="2742" y="2600"/>
                    </a:lnTo>
                    <a:lnTo>
                      <a:pt x="2739" y="2639"/>
                    </a:lnTo>
                    <a:lnTo>
                      <a:pt x="2731" y="2675"/>
                    </a:lnTo>
                    <a:lnTo>
                      <a:pt x="2716" y="2709"/>
                    </a:lnTo>
                    <a:lnTo>
                      <a:pt x="2696" y="2741"/>
                    </a:lnTo>
                    <a:lnTo>
                      <a:pt x="2673" y="2768"/>
                    </a:lnTo>
                    <a:lnTo>
                      <a:pt x="2645" y="2792"/>
                    </a:lnTo>
                    <a:lnTo>
                      <a:pt x="2613" y="2811"/>
                    </a:lnTo>
                    <a:lnTo>
                      <a:pt x="2579" y="2825"/>
                    </a:lnTo>
                    <a:lnTo>
                      <a:pt x="2542" y="2835"/>
                    </a:lnTo>
                    <a:lnTo>
                      <a:pt x="2503" y="2838"/>
                    </a:lnTo>
                    <a:lnTo>
                      <a:pt x="2279" y="2838"/>
                    </a:lnTo>
                    <a:lnTo>
                      <a:pt x="2279" y="3123"/>
                    </a:lnTo>
                    <a:lnTo>
                      <a:pt x="2276" y="3161"/>
                    </a:lnTo>
                    <a:lnTo>
                      <a:pt x="2266" y="3197"/>
                    </a:lnTo>
                    <a:lnTo>
                      <a:pt x="2252" y="3232"/>
                    </a:lnTo>
                    <a:lnTo>
                      <a:pt x="2232" y="3263"/>
                    </a:lnTo>
                    <a:lnTo>
                      <a:pt x="2209" y="3291"/>
                    </a:lnTo>
                    <a:lnTo>
                      <a:pt x="2181" y="3314"/>
                    </a:lnTo>
                    <a:lnTo>
                      <a:pt x="2150" y="3334"/>
                    </a:lnTo>
                    <a:lnTo>
                      <a:pt x="2116" y="3348"/>
                    </a:lnTo>
                    <a:lnTo>
                      <a:pt x="2078" y="3356"/>
                    </a:lnTo>
                    <a:lnTo>
                      <a:pt x="2040" y="3361"/>
                    </a:lnTo>
                    <a:lnTo>
                      <a:pt x="239" y="3361"/>
                    </a:lnTo>
                    <a:lnTo>
                      <a:pt x="199" y="3356"/>
                    </a:lnTo>
                    <a:lnTo>
                      <a:pt x="163" y="3348"/>
                    </a:lnTo>
                    <a:lnTo>
                      <a:pt x="129" y="3334"/>
                    </a:lnTo>
                    <a:lnTo>
                      <a:pt x="97" y="3314"/>
                    </a:lnTo>
                    <a:lnTo>
                      <a:pt x="69" y="3291"/>
                    </a:lnTo>
                    <a:lnTo>
                      <a:pt x="45" y="3263"/>
                    </a:lnTo>
                    <a:lnTo>
                      <a:pt x="27" y="3232"/>
                    </a:lnTo>
                    <a:lnTo>
                      <a:pt x="12" y="3197"/>
                    </a:lnTo>
                    <a:lnTo>
                      <a:pt x="3" y="3161"/>
                    </a:lnTo>
                    <a:lnTo>
                      <a:pt x="0" y="3123"/>
                    </a:lnTo>
                    <a:lnTo>
                      <a:pt x="0" y="761"/>
                    </a:lnTo>
                    <a:lnTo>
                      <a:pt x="3" y="722"/>
                    </a:lnTo>
                    <a:lnTo>
                      <a:pt x="12" y="686"/>
                    </a:lnTo>
                    <a:lnTo>
                      <a:pt x="27" y="651"/>
                    </a:lnTo>
                    <a:lnTo>
                      <a:pt x="45" y="620"/>
                    </a:lnTo>
                    <a:lnTo>
                      <a:pt x="69" y="592"/>
                    </a:lnTo>
                    <a:lnTo>
                      <a:pt x="97" y="568"/>
                    </a:lnTo>
                    <a:lnTo>
                      <a:pt x="129" y="549"/>
                    </a:lnTo>
                    <a:lnTo>
                      <a:pt x="163" y="535"/>
                    </a:lnTo>
                    <a:lnTo>
                      <a:pt x="199" y="526"/>
                    </a:lnTo>
                    <a:lnTo>
                      <a:pt x="239" y="523"/>
                    </a:lnTo>
                    <a:lnTo>
                      <a:pt x="463" y="523"/>
                    </a:lnTo>
                    <a:lnTo>
                      <a:pt x="463" y="238"/>
                    </a:lnTo>
                    <a:lnTo>
                      <a:pt x="466" y="200"/>
                    </a:lnTo>
                    <a:lnTo>
                      <a:pt x="475" y="163"/>
                    </a:lnTo>
                    <a:lnTo>
                      <a:pt x="490" y="129"/>
                    </a:lnTo>
                    <a:lnTo>
                      <a:pt x="510" y="98"/>
                    </a:lnTo>
                    <a:lnTo>
                      <a:pt x="533" y="70"/>
                    </a:lnTo>
                    <a:lnTo>
                      <a:pt x="561" y="47"/>
                    </a:lnTo>
                    <a:lnTo>
                      <a:pt x="592" y="27"/>
                    </a:lnTo>
                    <a:lnTo>
                      <a:pt x="626" y="13"/>
                    </a:lnTo>
                    <a:lnTo>
                      <a:pt x="664" y="3"/>
                    </a:lnTo>
                    <a:lnTo>
                      <a:pt x="7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9" name="Freeform 151"/>
              <p:cNvSpPr>
                <a:spLocks/>
              </p:cNvSpPr>
              <p:nvPr/>
            </p:nvSpPr>
            <p:spPr bwMode="auto">
              <a:xfrm>
                <a:off x="5778" y="2991"/>
                <a:ext cx="92" cy="13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3"/>
                    </a:lnTo>
                    <a:lnTo>
                      <a:pt x="1311" y="10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8"/>
                    </a:lnTo>
                    <a:lnTo>
                      <a:pt x="1366" y="79"/>
                    </a:lnTo>
                    <a:lnTo>
                      <a:pt x="1369" y="102"/>
                    </a:lnTo>
                    <a:lnTo>
                      <a:pt x="1366" y="125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2"/>
                    </a:lnTo>
                    <a:lnTo>
                      <a:pt x="1311" y="193"/>
                    </a:lnTo>
                    <a:lnTo>
                      <a:pt x="1290" y="201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1"/>
                    </a:lnTo>
                    <a:lnTo>
                      <a:pt x="58" y="193"/>
                    </a:lnTo>
                    <a:lnTo>
                      <a:pt x="38" y="182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5"/>
                    </a:lnTo>
                    <a:lnTo>
                      <a:pt x="0" y="102"/>
                    </a:lnTo>
                    <a:lnTo>
                      <a:pt x="3" y="79"/>
                    </a:lnTo>
                    <a:lnTo>
                      <a:pt x="10" y="58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0"/>
                    </a:lnTo>
                    <a:lnTo>
                      <a:pt x="78" y="3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0" name="Freeform 152"/>
              <p:cNvSpPr>
                <a:spLocks/>
              </p:cNvSpPr>
              <p:nvPr/>
            </p:nvSpPr>
            <p:spPr bwMode="auto">
              <a:xfrm>
                <a:off x="5778" y="2886"/>
                <a:ext cx="92" cy="14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3"/>
                    </a:lnTo>
                    <a:lnTo>
                      <a:pt x="1311" y="11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8"/>
                    </a:lnTo>
                    <a:lnTo>
                      <a:pt x="1366" y="78"/>
                    </a:lnTo>
                    <a:lnTo>
                      <a:pt x="1369" y="102"/>
                    </a:lnTo>
                    <a:lnTo>
                      <a:pt x="1366" y="126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1"/>
                    </a:lnTo>
                    <a:lnTo>
                      <a:pt x="1311" y="193"/>
                    </a:lnTo>
                    <a:lnTo>
                      <a:pt x="1290" y="202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2"/>
                    </a:lnTo>
                    <a:lnTo>
                      <a:pt x="58" y="193"/>
                    </a:lnTo>
                    <a:lnTo>
                      <a:pt x="38" y="181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6"/>
                    </a:lnTo>
                    <a:lnTo>
                      <a:pt x="0" y="102"/>
                    </a:lnTo>
                    <a:lnTo>
                      <a:pt x="3" y="78"/>
                    </a:lnTo>
                    <a:lnTo>
                      <a:pt x="10" y="58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1"/>
                    </a:lnTo>
                    <a:lnTo>
                      <a:pt x="78" y="3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1" name="Freeform 153"/>
              <p:cNvSpPr>
                <a:spLocks/>
              </p:cNvSpPr>
              <p:nvPr/>
            </p:nvSpPr>
            <p:spPr bwMode="auto">
              <a:xfrm>
                <a:off x="5778" y="2917"/>
                <a:ext cx="92" cy="13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4"/>
                    </a:lnTo>
                    <a:lnTo>
                      <a:pt x="1311" y="11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7"/>
                    </a:lnTo>
                    <a:lnTo>
                      <a:pt x="1366" y="79"/>
                    </a:lnTo>
                    <a:lnTo>
                      <a:pt x="1369" y="102"/>
                    </a:lnTo>
                    <a:lnTo>
                      <a:pt x="1366" y="126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1"/>
                    </a:lnTo>
                    <a:lnTo>
                      <a:pt x="1311" y="194"/>
                    </a:lnTo>
                    <a:lnTo>
                      <a:pt x="1290" y="201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1"/>
                    </a:lnTo>
                    <a:lnTo>
                      <a:pt x="58" y="194"/>
                    </a:lnTo>
                    <a:lnTo>
                      <a:pt x="38" y="181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6"/>
                    </a:lnTo>
                    <a:lnTo>
                      <a:pt x="0" y="102"/>
                    </a:lnTo>
                    <a:lnTo>
                      <a:pt x="3" y="79"/>
                    </a:lnTo>
                    <a:lnTo>
                      <a:pt x="10" y="57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1"/>
                    </a:lnTo>
                    <a:lnTo>
                      <a:pt x="78" y="4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2" name="Freeform 154"/>
              <p:cNvSpPr>
                <a:spLocks/>
              </p:cNvSpPr>
              <p:nvPr/>
            </p:nvSpPr>
            <p:spPr bwMode="auto">
              <a:xfrm>
                <a:off x="5778" y="2947"/>
                <a:ext cx="92" cy="14"/>
              </a:xfrm>
              <a:custGeom>
                <a:avLst/>
                <a:gdLst>
                  <a:gd name="T0" fmla="*/ 0 w 1369"/>
                  <a:gd name="T1" fmla="*/ 0 h 203"/>
                  <a:gd name="T2" fmla="*/ 0 w 1369"/>
                  <a:gd name="T3" fmla="*/ 0 h 203"/>
                  <a:gd name="T4" fmla="*/ 0 w 1369"/>
                  <a:gd name="T5" fmla="*/ 0 h 203"/>
                  <a:gd name="T6" fmla="*/ 0 w 1369"/>
                  <a:gd name="T7" fmla="*/ 0 h 203"/>
                  <a:gd name="T8" fmla="*/ 0 w 1369"/>
                  <a:gd name="T9" fmla="*/ 0 h 203"/>
                  <a:gd name="T10" fmla="*/ 0 w 1369"/>
                  <a:gd name="T11" fmla="*/ 0 h 203"/>
                  <a:gd name="T12" fmla="*/ 0 w 1369"/>
                  <a:gd name="T13" fmla="*/ 0 h 203"/>
                  <a:gd name="T14" fmla="*/ 0 w 1369"/>
                  <a:gd name="T15" fmla="*/ 0 h 203"/>
                  <a:gd name="T16" fmla="*/ 0 w 1369"/>
                  <a:gd name="T17" fmla="*/ 0 h 203"/>
                  <a:gd name="T18" fmla="*/ 0 w 1369"/>
                  <a:gd name="T19" fmla="*/ 0 h 203"/>
                  <a:gd name="T20" fmla="*/ 0 w 1369"/>
                  <a:gd name="T21" fmla="*/ 0 h 203"/>
                  <a:gd name="T22" fmla="*/ 0 w 1369"/>
                  <a:gd name="T23" fmla="*/ 0 h 203"/>
                  <a:gd name="T24" fmla="*/ 0 w 1369"/>
                  <a:gd name="T25" fmla="*/ 0 h 203"/>
                  <a:gd name="T26" fmla="*/ 0 w 1369"/>
                  <a:gd name="T27" fmla="*/ 0 h 203"/>
                  <a:gd name="T28" fmla="*/ 0 w 1369"/>
                  <a:gd name="T29" fmla="*/ 0 h 203"/>
                  <a:gd name="T30" fmla="*/ 0 w 1369"/>
                  <a:gd name="T31" fmla="*/ 0 h 203"/>
                  <a:gd name="T32" fmla="*/ 0 w 1369"/>
                  <a:gd name="T33" fmla="*/ 0 h 203"/>
                  <a:gd name="T34" fmla="*/ 0 w 1369"/>
                  <a:gd name="T35" fmla="*/ 0 h 203"/>
                  <a:gd name="T36" fmla="*/ 0 w 1369"/>
                  <a:gd name="T37" fmla="*/ 0 h 203"/>
                  <a:gd name="T38" fmla="*/ 0 w 1369"/>
                  <a:gd name="T39" fmla="*/ 0 h 203"/>
                  <a:gd name="T40" fmla="*/ 0 w 1369"/>
                  <a:gd name="T41" fmla="*/ 0 h 203"/>
                  <a:gd name="T42" fmla="*/ 0 w 1369"/>
                  <a:gd name="T43" fmla="*/ 0 h 203"/>
                  <a:gd name="T44" fmla="*/ 0 w 1369"/>
                  <a:gd name="T45" fmla="*/ 0 h 203"/>
                  <a:gd name="T46" fmla="*/ 0 w 1369"/>
                  <a:gd name="T47" fmla="*/ 0 h 203"/>
                  <a:gd name="T48" fmla="*/ 0 w 1369"/>
                  <a:gd name="T49" fmla="*/ 0 h 203"/>
                  <a:gd name="T50" fmla="*/ 0 w 1369"/>
                  <a:gd name="T51" fmla="*/ 0 h 203"/>
                  <a:gd name="T52" fmla="*/ 0 w 1369"/>
                  <a:gd name="T53" fmla="*/ 0 h 203"/>
                  <a:gd name="T54" fmla="*/ 0 w 1369"/>
                  <a:gd name="T55" fmla="*/ 0 h 203"/>
                  <a:gd name="T56" fmla="*/ 0 w 1369"/>
                  <a:gd name="T57" fmla="*/ 0 h 203"/>
                  <a:gd name="T58" fmla="*/ 0 w 1369"/>
                  <a:gd name="T59" fmla="*/ 0 h 203"/>
                  <a:gd name="T60" fmla="*/ 0 w 1369"/>
                  <a:gd name="T61" fmla="*/ 0 h 20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3"/>
                  <a:gd name="T95" fmla="*/ 1369 w 1369"/>
                  <a:gd name="T96" fmla="*/ 203 h 20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3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2"/>
                    </a:lnTo>
                    <a:lnTo>
                      <a:pt x="1311" y="10"/>
                    </a:lnTo>
                    <a:lnTo>
                      <a:pt x="1331" y="22"/>
                    </a:lnTo>
                    <a:lnTo>
                      <a:pt x="1346" y="38"/>
                    </a:lnTo>
                    <a:lnTo>
                      <a:pt x="1359" y="56"/>
                    </a:lnTo>
                    <a:lnTo>
                      <a:pt x="1366" y="78"/>
                    </a:lnTo>
                    <a:lnTo>
                      <a:pt x="1369" y="101"/>
                    </a:lnTo>
                    <a:lnTo>
                      <a:pt x="1366" y="125"/>
                    </a:lnTo>
                    <a:lnTo>
                      <a:pt x="1359" y="145"/>
                    </a:lnTo>
                    <a:lnTo>
                      <a:pt x="1346" y="165"/>
                    </a:lnTo>
                    <a:lnTo>
                      <a:pt x="1331" y="180"/>
                    </a:lnTo>
                    <a:lnTo>
                      <a:pt x="1311" y="193"/>
                    </a:lnTo>
                    <a:lnTo>
                      <a:pt x="1290" y="200"/>
                    </a:lnTo>
                    <a:lnTo>
                      <a:pt x="1267" y="203"/>
                    </a:lnTo>
                    <a:lnTo>
                      <a:pt x="102" y="203"/>
                    </a:lnTo>
                    <a:lnTo>
                      <a:pt x="78" y="200"/>
                    </a:lnTo>
                    <a:lnTo>
                      <a:pt x="58" y="193"/>
                    </a:lnTo>
                    <a:lnTo>
                      <a:pt x="38" y="180"/>
                    </a:lnTo>
                    <a:lnTo>
                      <a:pt x="22" y="165"/>
                    </a:lnTo>
                    <a:lnTo>
                      <a:pt x="10" y="145"/>
                    </a:lnTo>
                    <a:lnTo>
                      <a:pt x="3" y="125"/>
                    </a:lnTo>
                    <a:lnTo>
                      <a:pt x="0" y="101"/>
                    </a:lnTo>
                    <a:lnTo>
                      <a:pt x="3" y="78"/>
                    </a:lnTo>
                    <a:lnTo>
                      <a:pt x="10" y="56"/>
                    </a:lnTo>
                    <a:lnTo>
                      <a:pt x="22" y="38"/>
                    </a:lnTo>
                    <a:lnTo>
                      <a:pt x="38" y="22"/>
                    </a:lnTo>
                    <a:lnTo>
                      <a:pt x="58" y="10"/>
                    </a:lnTo>
                    <a:lnTo>
                      <a:pt x="78" y="2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61" name="FlowTriangle"/>
            <p:cNvSpPr>
              <a:spLocks noChangeArrowheads="1"/>
            </p:cNvSpPr>
            <p:nvPr/>
          </p:nvSpPr>
          <p:spPr bwMode="gray">
            <a:xfrm rot="5400000">
              <a:off x="672617" y="1410900"/>
              <a:ext cx="269880" cy="50959"/>
            </a:xfrm>
            <a:prstGeom prst="triangle">
              <a:avLst>
                <a:gd name="adj" fmla="val 50000"/>
              </a:avLst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E2E2E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anchor="ctr"/>
            <a:lstStyle/>
            <a:p>
              <a:pPr algn="ctr"/>
              <a:endParaRPr lang="pl-PL" sz="1517" b="1" kern="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62" name="Group 148"/>
            <p:cNvGrpSpPr>
              <a:grpSpLocks noChangeAspect="1"/>
            </p:cNvGrpSpPr>
            <p:nvPr/>
          </p:nvGrpSpPr>
          <p:grpSpPr bwMode="auto">
            <a:xfrm>
              <a:off x="629171" y="1176832"/>
              <a:ext cx="119848" cy="178275"/>
              <a:chOff x="5748" y="2786"/>
              <a:chExt cx="202" cy="243"/>
            </a:xfrm>
          </p:grpSpPr>
          <p:sp>
            <p:nvSpPr>
              <p:cNvPr id="63" name="Freeform 150"/>
              <p:cNvSpPr>
                <a:spLocks noEditPoints="1"/>
              </p:cNvSpPr>
              <p:nvPr/>
            </p:nvSpPr>
            <p:spPr bwMode="auto">
              <a:xfrm>
                <a:off x="5748" y="2786"/>
                <a:ext cx="202" cy="243"/>
              </a:xfrm>
              <a:custGeom>
                <a:avLst/>
                <a:gdLst>
                  <a:gd name="T0" fmla="*/ 0 w 2742"/>
                  <a:gd name="T1" fmla="*/ 0 h 3361"/>
                  <a:gd name="T2" fmla="*/ 0 w 2742"/>
                  <a:gd name="T3" fmla="*/ 0 h 3361"/>
                  <a:gd name="T4" fmla="*/ 0 w 2742"/>
                  <a:gd name="T5" fmla="*/ 0 h 3361"/>
                  <a:gd name="T6" fmla="*/ 0 w 2742"/>
                  <a:gd name="T7" fmla="*/ 0 h 3361"/>
                  <a:gd name="T8" fmla="*/ 0 w 2742"/>
                  <a:gd name="T9" fmla="*/ 0 h 3361"/>
                  <a:gd name="T10" fmla="*/ 0 w 2742"/>
                  <a:gd name="T11" fmla="*/ 0 h 3361"/>
                  <a:gd name="T12" fmla="*/ 0 w 2742"/>
                  <a:gd name="T13" fmla="*/ 0 h 3361"/>
                  <a:gd name="T14" fmla="*/ 0 w 2742"/>
                  <a:gd name="T15" fmla="*/ 0 h 3361"/>
                  <a:gd name="T16" fmla="*/ 0 w 2742"/>
                  <a:gd name="T17" fmla="*/ 0 h 3361"/>
                  <a:gd name="T18" fmla="*/ 0 w 2742"/>
                  <a:gd name="T19" fmla="*/ 0 h 3361"/>
                  <a:gd name="T20" fmla="*/ 0 w 2742"/>
                  <a:gd name="T21" fmla="*/ 0 h 3361"/>
                  <a:gd name="T22" fmla="*/ 0 w 2742"/>
                  <a:gd name="T23" fmla="*/ 0 h 3361"/>
                  <a:gd name="T24" fmla="*/ 0 w 2742"/>
                  <a:gd name="T25" fmla="*/ 0 h 3361"/>
                  <a:gd name="T26" fmla="*/ 0 w 2742"/>
                  <a:gd name="T27" fmla="*/ 0 h 3361"/>
                  <a:gd name="T28" fmla="*/ 0 w 2742"/>
                  <a:gd name="T29" fmla="*/ 0 h 3361"/>
                  <a:gd name="T30" fmla="*/ 0 w 2742"/>
                  <a:gd name="T31" fmla="*/ 0 h 3361"/>
                  <a:gd name="T32" fmla="*/ 0 w 2742"/>
                  <a:gd name="T33" fmla="*/ 0 h 3361"/>
                  <a:gd name="T34" fmla="*/ 0 w 2742"/>
                  <a:gd name="T35" fmla="*/ 0 h 3361"/>
                  <a:gd name="T36" fmla="*/ 0 w 2742"/>
                  <a:gd name="T37" fmla="*/ 0 h 3361"/>
                  <a:gd name="T38" fmla="*/ 0 w 2742"/>
                  <a:gd name="T39" fmla="*/ 0 h 3361"/>
                  <a:gd name="T40" fmla="*/ 0 w 2742"/>
                  <a:gd name="T41" fmla="*/ 0 h 3361"/>
                  <a:gd name="T42" fmla="*/ 0 w 2742"/>
                  <a:gd name="T43" fmla="*/ 0 h 3361"/>
                  <a:gd name="T44" fmla="*/ 0 w 2742"/>
                  <a:gd name="T45" fmla="*/ 0 h 3361"/>
                  <a:gd name="T46" fmla="*/ 0 w 2742"/>
                  <a:gd name="T47" fmla="*/ 0 h 3361"/>
                  <a:gd name="T48" fmla="*/ 0 w 2742"/>
                  <a:gd name="T49" fmla="*/ 0 h 3361"/>
                  <a:gd name="T50" fmla="*/ 0 w 2742"/>
                  <a:gd name="T51" fmla="*/ 0 h 3361"/>
                  <a:gd name="T52" fmla="*/ 0 w 2742"/>
                  <a:gd name="T53" fmla="*/ 0 h 3361"/>
                  <a:gd name="T54" fmla="*/ 0 w 2742"/>
                  <a:gd name="T55" fmla="*/ 0 h 3361"/>
                  <a:gd name="T56" fmla="*/ 0 w 2742"/>
                  <a:gd name="T57" fmla="*/ 0 h 3361"/>
                  <a:gd name="T58" fmla="*/ 0 w 2742"/>
                  <a:gd name="T59" fmla="*/ 0 h 3361"/>
                  <a:gd name="T60" fmla="*/ 0 w 2742"/>
                  <a:gd name="T61" fmla="*/ 0 h 3361"/>
                  <a:gd name="T62" fmla="*/ 0 w 2742"/>
                  <a:gd name="T63" fmla="*/ 0 h 3361"/>
                  <a:gd name="T64" fmla="*/ 0 w 2742"/>
                  <a:gd name="T65" fmla="*/ 0 h 3361"/>
                  <a:gd name="T66" fmla="*/ 0 w 2742"/>
                  <a:gd name="T67" fmla="*/ 0 h 3361"/>
                  <a:gd name="T68" fmla="*/ 0 w 2742"/>
                  <a:gd name="T69" fmla="*/ 0 h 3361"/>
                  <a:gd name="T70" fmla="*/ 0 w 2742"/>
                  <a:gd name="T71" fmla="*/ 0 h 3361"/>
                  <a:gd name="T72" fmla="*/ 0 w 2742"/>
                  <a:gd name="T73" fmla="*/ 0 h 3361"/>
                  <a:gd name="T74" fmla="*/ 0 w 2742"/>
                  <a:gd name="T75" fmla="*/ 0 h 3361"/>
                  <a:gd name="T76" fmla="*/ 0 w 2742"/>
                  <a:gd name="T77" fmla="*/ 0 h 3361"/>
                  <a:gd name="T78" fmla="*/ 0 w 2742"/>
                  <a:gd name="T79" fmla="*/ 0 h 3361"/>
                  <a:gd name="T80" fmla="*/ 0 w 2742"/>
                  <a:gd name="T81" fmla="*/ 0 h 3361"/>
                  <a:gd name="T82" fmla="*/ 0 w 2742"/>
                  <a:gd name="T83" fmla="*/ 0 h 3361"/>
                  <a:gd name="T84" fmla="*/ 0 w 2742"/>
                  <a:gd name="T85" fmla="*/ 0 h 3361"/>
                  <a:gd name="T86" fmla="*/ 0 w 2742"/>
                  <a:gd name="T87" fmla="*/ 0 h 3361"/>
                  <a:gd name="T88" fmla="*/ 0 w 2742"/>
                  <a:gd name="T89" fmla="*/ 0 h 3361"/>
                  <a:gd name="T90" fmla="*/ 0 w 2742"/>
                  <a:gd name="T91" fmla="*/ 0 h 3361"/>
                  <a:gd name="T92" fmla="*/ 0 w 2742"/>
                  <a:gd name="T93" fmla="*/ 0 h 3361"/>
                  <a:gd name="T94" fmla="*/ 0 w 2742"/>
                  <a:gd name="T95" fmla="*/ 0 h 3361"/>
                  <a:gd name="T96" fmla="*/ 0 w 2742"/>
                  <a:gd name="T97" fmla="*/ 0 h 3361"/>
                  <a:gd name="T98" fmla="*/ 0 w 2742"/>
                  <a:gd name="T99" fmla="*/ 0 h 3361"/>
                  <a:gd name="T100" fmla="*/ 0 w 2742"/>
                  <a:gd name="T101" fmla="*/ 0 h 3361"/>
                  <a:gd name="T102" fmla="*/ 0 w 2742"/>
                  <a:gd name="T103" fmla="*/ 0 h 3361"/>
                  <a:gd name="T104" fmla="*/ 0 w 2742"/>
                  <a:gd name="T105" fmla="*/ 0 h 3361"/>
                  <a:gd name="T106" fmla="*/ 0 w 2742"/>
                  <a:gd name="T107" fmla="*/ 0 h 3361"/>
                  <a:gd name="T108" fmla="*/ 0 w 2742"/>
                  <a:gd name="T109" fmla="*/ 0 h 3361"/>
                  <a:gd name="T110" fmla="*/ 0 w 2742"/>
                  <a:gd name="T111" fmla="*/ 0 h 3361"/>
                  <a:gd name="T112" fmla="*/ 0 w 2742"/>
                  <a:gd name="T113" fmla="*/ 0 h 3361"/>
                  <a:gd name="T114" fmla="*/ 0 w 2742"/>
                  <a:gd name="T115" fmla="*/ 0 h 3361"/>
                  <a:gd name="T116" fmla="*/ 0 w 2742"/>
                  <a:gd name="T117" fmla="*/ 0 h 336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742"/>
                  <a:gd name="T178" fmla="*/ 0 h 3361"/>
                  <a:gd name="T179" fmla="*/ 2742 w 2742"/>
                  <a:gd name="T180" fmla="*/ 3361 h 336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742" h="3361">
                    <a:moveTo>
                      <a:pt x="239" y="727"/>
                    </a:moveTo>
                    <a:lnTo>
                      <a:pt x="225" y="729"/>
                    </a:lnTo>
                    <a:lnTo>
                      <a:pt x="215" y="736"/>
                    </a:lnTo>
                    <a:lnTo>
                      <a:pt x="207" y="747"/>
                    </a:lnTo>
                    <a:lnTo>
                      <a:pt x="205" y="761"/>
                    </a:lnTo>
                    <a:lnTo>
                      <a:pt x="205" y="3123"/>
                    </a:lnTo>
                    <a:lnTo>
                      <a:pt x="207" y="3136"/>
                    </a:lnTo>
                    <a:lnTo>
                      <a:pt x="215" y="3147"/>
                    </a:lnTo>
                    <a:lnTo>
                      <a:pt x="225" y="3154"/>
                    </a:lnTo>
                    <a:lnTo>
                      <a:pt x="239" y="3157"/>
                    </a:lnTo>
                    <a:lnTo>
                      <a:pt x="2040" y="3157"/>
                    </a:lnTo>
                    <a:lnTo>
                      <a:pt x="2054" y="3154"/>
                    </a:lnTo>
                    <a:lnTo>
                      <a:pt x="2064" y="3147"/>
                    </a:lnTo>
                    <a:lnTo>
                      <a:pt x="2071" y="3136"/>
                    </a:lnTo>
                    <a:lnTo>
                      <a:pt x="2074" y="3123"/>
                    </a:lnTo>
                    <a:lnTo>
                      <a:pt x="2074" y="761"/>
                    </a:lnTo>
                    <a:lnTo>
                      <a:pt x="2071" y="747"/>
                    </a:lnTo>
                    <a:lnTo>
                      <a:pt x="2064" y="736"/>
                    </a:lnTo>
                    <a:lnTo>
                      <a:pt x="2054" y="729"/>
                    </a:lnTo>
                    <a:lnTo>
                      <a:pt x="2040" y="727"/>
                    </a:lnTo>
                    <a:lnTo>
                      <a:pt x="239" y="727"/>
                    </a:lnTo>
                    <a:close/>
                    <a:moveTo>
                      <a:pt x="702" y="204"/>
                    </a:moveTo>
                    <a:lnTo>
                      <a:pt x="688" y="207"/>
                    </a:lnTo>
                    <a:lnTo>
                      <a:pt x="678" y="214"/>
                    </a:lnTo>
                    <a:lnTo>
                      <a:pt x="671" y="225"/>
                    </a:lnTo>
                    <a:lnTo>
                      <a:pt x="668" y="238"/>
                    </a:lnTo>
                    <a:lnTo>
                      <a:pt x="668" y="523"/>
                    </a:lnTo>
                    <a:lnTo>
                      <a:pt x="2040" y="523"/>
                    </a:lnTo>
                    <a:lnTo>
                      <a:pt x="2078" y="526"/>
                    </a:lnTo>
                    <a:lnTo>
                      <a:pt x="2116" y="535"/>
                    </a:lnTo>
                    <a:lnTo>
                      <a:pt x="2150" y="549"/>
                    </a:lnTo>
                    <a:lnTo>
                      <a:pt x="2181" y="568"/>
                    </a:lnTo>
                    <a:lnTo>
                      <a:pt x="2209" y="592"/>
                    </a:lnTo>
                    <a:lnTo>
                      <a:pt x="2232" y="620"/>
                    </a:lnTo>
                    <a:lnTo>
                      <a:pt x="2252" y="651"/>
                    </a:lnTo>
                    <a:lnTo>
                      <a:pt x="2266" y="686"/>
                    </a:lnTo>
                    <a:lnTo>
                      <a:pt x="2276" y="722"/>
                    </a:lnTo>
                    <a:lnTo>
                      <a:pt x="2279" y="761"/>
                    </a:lnTo>
                    <a:lnTo>
                      <a:pt x="2279" y="2634"/>
                    </a:lnTo>
                    <a:lnTo>
                      <a:pt x="2503" y="2634"/>
                    </a:lnTo>
                    <a:lnTo>
                      <a:pt x="2517" y="2632"/>
                    </a:lnTo>
                    <a:lnTo>
                      <a:pt x="2528" y="2624"/>
                    </a:lnTo>
                    <a:lnTo>
                      <a:pt x="2535" y="2614"/>
                    </a:lnTo>
                    <a:lnTo>
                      <a:pt x="2537" y="2600"/>
                    </a:lnTo>
                    <a:lnTo>
                      <a:pt x="2537" y="238"/>
                    </a:lnTo>
                    <a:lnTo>
                      <a:pt x="2535" y="225"/>
                    </a:lnTo>
                    <a:lnTo>
                      <a:pt x="2528" y="214"/>
                    </a:lnTo>
                    <a:lnTo>
                      <a:pt x="2517" y="207"/>
                    </a:lnTo>
                    <a:lnTo>
                      <a:pt x="2503" y="204"/>
                    </a:lnTo>
                    <a:lnTo>
                      <a:pt x="702" y="204"/>
                    </a:lnTo>
                    <a:close/>
                    <a:moveTo>
                      <a:pt x="702" y="0"/>
                    </a:moveTo>
                    <a:lnTo>
                      <a:pt x="2503" y="0"/>
                    </a:lnTo>
                    <a:lnTo>
                      <a:pt x="2542" y="3"/>
                    </a:lnTo>
                    <a:lnTo>
                      <a:pt x="2579" y="13"/>
                    </a:lnTo>
                    <a:lnTo>
                      <a:pt x="2613" y="27"/>
                    </a:lnTo>
                    <a:lnTo>
                      <a:pt x="2645" y="47"/>
                    </a:lnTo>
                    <a:lnTo>
                      <a:pt x="2673" y="70"/>
                    </a:lnTo>
                    <a:lnTo>
                      <a:pt x="2696" y="98"/>
                    </a:lnTo>
                    <a:lnTo>
                      <a:pt x="2716" y="129"/>
                    </a:lnTo>
                    <a:lnTo>
                      <a:pt x="2731" y="163"/>
                    </a:lnTo>
                    <a:lnTo>
                      <a:pt x="2739" y="200"/>
                    </a:lnTo>
                    <a:lnTo>
                      <a:pt x="2742" y="238"/>
                    </a:lnTo>
                    <a:lnTo>
                      <a:pt x="2742" y="2600"/>
                    </a:lnTo>
                    <a:lnTo>
                      <a:pt x="2739" y="2639"/>
                    </a:lnTo>
                    <a:lnTo>
                      <a:pt x="2731" y="2675"/>
                    </a:lnTo>
                    <a:lnTo>
                      <a:pt x="2716" y="2709"/>
                    </a:lnTo>
                    <a:lnTo>
                      <a:pt x="2696" y="2741"/>
                    </a:lnTo>
                    <a:lnTo>
                      <a:pt x="2673" y="2768"/>
                    </a:lnTo>
                    <a:lnTo>
                      <a:pt x="2645" y="2792"/>
                    </a:lnTo>
                    <a:lnTo>
                      <a:pt x="2613" y="2811"/>
                    </a:lnTo>
                    <a:lnTo>
                      <a:pt x="2579" y="2825"/>
                    </a:lnTo>
                    <a:lnTo>
                      <a:pt x="2542" y="2835"/>
                    </a:lnTo>
                    <a:lnTo>
                      <a:pt x="2503" y="2838"/>
                    </a:lnTo>
                    <a:lnTo>
                      <a:pt x="2279" y="2838"/>
                    </a:lnTo>
                    <a:lnTo>
                      <a:pt x="2279" y="3123"/>
                    </a:lnTo>
                    <a:lnTo>
                      <a:pt x="2276" y="3161"/>
                    </a:lnTo>
                    <a:lnTo>
                      <a:pt x="2266" y="3197"/>
                    </a:lnTo>
                    <a:lnTo>
                      <a:pt x="2252" y="3232"/>
                    </a:lnTo>
                    <a:lnTo>
                      <a:pt x="2232" y="3263"/>
                    </a:lnTo>
                    <a:lnTo>
                      <a:pt x="2209" y="3291"/>
                    </a:lnTo>
                    <a:lnTo>
                      <a:pt x="2181" y="3314"/>
                    </a:lnTo>
                    <a:lnTo>
                      <a:pt x="2150" y="3334"/>
                    </a:lnTo>
                    <a:lnTo>
                      <a:pt x="2116" y="3348"/>
                    </a:lnTo>
                    <a:lnTo>
                      <a:pt x="2078" y="3356"/>
                    </a:lnTo>
                    <a:lnTo>
                      <a:pt x="2040" y="3361"/>
                    </a:lnTo>
                    <a:lnTo>
                      <a:pt x="239" y="3361"/>
                    </a:lnTo>
                    <a:lnTo>
                      <a:pt x="199" y="3356"/>
                    </a:lnTo>
                    <a:lnTo>
                      <a:pt x="163" y="3348"/>
                    </a:lnTo>
                    <a:lnTo>
                      <a:pt x="129" y="3334"/>
                    </a:lnTo>
                    <a:lnTo>
                      <a:pt x="97" y="3314"/>
                    </a:lnTo>
                    <a:lnTo>
                      <a:pt x="69" y="3291"/>
                    </a:lnTo>
                    <a:lnTo>
                      <a:pt x="45" y="3263"/>
                    </a:lnTo>
                    <a:lnTo>
                      <a:pt x="27" y="3232"/>
                    </a:lnTo>
                    <a:lnTo>
                      <a:pt x="12" y="3197"/>
                    </a:lnTo>
                    <a:lnTo>
                      <a:pt x="3" y="3161"/>
                    </a:lnTo>
                    <a:lnTo>
                      <a:pt x="0" y="3123"/>
                    </a:lnTo>
                    <a:lnTo>
                      <a:pt x="0" y="761"/>
                    </a:lnTo>
                    <a:lnTo>
                      <a:pt x="3" y="722"/>
                    </a:lnTo>
                    <a:lnTo>
                      <a:pt x="12" y="686"/>
                    </a:lnTo>
                    <a:lnTo>
                      <a:pt x="27" y="651"/>
                    </a:lnTo>
                    <a:lnTo>
                      <a:pt x="45" y="620"/>
                    </a:lnTo>
                    <a:lnTo>
                      <a:pt x="69" y="592"/>
                    </a:lnTo>
                    <a:lnTo>
                      <a:pt x="97" y="568"/>
                    </a:lnTo>
                    <a:lnTo>
                      <a:pt x="129" y="549"/>
                    </a:lnTo>
                    <a:lnTo>
                      <a:pt x="163" y="535"/>
                    </a:lnTo>
                    <a:lnTo>
                      <a:pt x="199" y="526"/>
                    </a:lnTo>
                    <a:lnTo>
                      <a:pt x="239" y="523"/>
                    </a:lnTo>
                    <a:lnTo>
                      <a:pt x="463" y="523"/>
                    </a:lnTo>
                    <a:lnTo>
                      <a:pt x="463" y="238"/>
                    </a:lnTo>
                    <a:lnTo>
                      <a:pt x="466" y="200"/>
                    </a:lnTo>
                    <a:lnTo>
                      <a:pt x="475" y="163"/>
                    </a:lnTo>
                    <a:lnTo>
                      <a:pt x="490" y="129"/>
                    </a:lnTo>
                    <a:lnTo>
                      <a:pt x="510" y="98"/>
                    </a:lnTo>
                    <a:lnTo>
                      <a:pt x="533" y="70"/>
                    </a:lnTo>
                    <a:lnTo>
                      <a:pt x="561" y="47"/>
                    </a:lnTo>
                    <a:lnTo>
                      <a:pt x="592" y="27"/>
                    </a:lnTo>
                    <a:lnTo>
                      <a:pt x="626" y="13"/>
                    </a:lnTo>
                    <a:lnTo>
                      <a:pt x="664" y="3"/>
                    </a:lnTo>
                    <a:lnTo>
                      <a:pt x="7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4" name="Freeform 151"/>
              <p:cNvSpPr>
                <a:spLocks/>
              </p:cNvSpPr>
              <p:nvPr/>
            </p:nvSpPr>
            <p:spPr bwMode="auto">
              <a:xfrm>
                <a:off x="5778" y="2856"/>
                <a:ext cx="92" cy="13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3"/>
                    </a:lnTo>
                    <a:lnTo>
                      <a:pt x="1311" y="10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8"/>
                    </a:lnTo>
                    <a:lnTo>
                      <a:pt x="1366" y="79"/>
                    </a:lnTo>
                    <a:lnTo>
                      <a:pt x="1369" y="102"/>
                    </a:lnTo>
                    <a:lnTo>
                      <a:pt x="1366" y="125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2"/>
                    </a:lnTo>
                    <a:lnTo>
                      <a:pt x="1311" y="193"/>
                    </a:lnTo>
                    <a:lnTo>
                      <a:pt x="1290" y="201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1"/>
                    </a:lnTo>
                    <a:lnTo>
                      <a:pt x="58" y="193"/>
                    </a:lnTo>
                    <a:lnTo>
                      <a:pt x="38" y="182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5"/>
                    </a:lnTo>
                    <a:lnTo>
                      <a:pt x="0" y="102"/>
                    </a:lnTo>
                    <a:lnTo>
                      <a:pt x="3" y="79"/>
                    </a:lnTo>
                    <a:lnTo>
                      <a:pt x="10" y="58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0"/>
                    </a:lnTo>
                    <a:lnTo>
                      <a:pt x="78" y="3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5" name="Freeform 152"/>
              <p:cNvSpPr>
                <a:spLocks/>
              </p:cNvSpPr>
              <p:nvPr/>
            </p:nvSpPr>
            <p:spPr bwMode="auto">
              <a:xfrm>
                <a:off x="5778" y="2886"/>
                <a:ext cx="92" cy="14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3"/>
                    </a:lnTo>
                    <a:lnTo>
                      <a:pt x="1311" y="11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8"/>
                    </a:lnTo>
                    <a:lnTo>
                      <a:pt x="1366" y="78"/>
                    </a:lnTo>
                    <a:lnTo>
                      <a:pt x="1369" y="102"/>
                    </a:lnTo>
                    <a:lnTo>
                      <a:pt x="1366" y="126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1"/>
                    </a:lnTo>
                    <a:lnTo>
                      <a:pt x="1311" y="193"/>
                    </a:lnTo>
                    <a:lnTo>
                      <a:pt x="1290" y="202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2"/>
                    </a:lnTo>
                    <a:lnTo>
                      <a:pt x="58" y="193"/>
                    </a:lnTo>
                    <a:lnTo>
                      <a:pt x="38" y="181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6"/>
                    </a:lnTo>
                    <a:lnTo>
                      <a:pt x="0" y="102"/>
                    </a:lnTo>
                    <a:lnTo>
                      <a:pt x="3" y="78"/>
                    </a:lnTo>
                    <a:lnTo>
                      <a:pt x="10" y="58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1"/>
                    </a:lnTo>
                    <a:lnTo>
                      <a:pt x="78" y="3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6" name="Freeform 153"/>
              <p:cNvSpPr>
                <a:spLocks/>
              </p:cNvSpPr>
              <p:nvPr/>
            </p:nvSpPr>
            <p:spPr bwMode="auto">
              <a:xfrm>
                <a:off x="5778" y="2917"/>
                <a:ext cx="92" cy="13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4"/>
                    </a:lnTo>
                    <a:lnTo>
                      <a:pt x="1311" y="11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7"/>
                    </a:lnTo>
                    <a:lnTo>
                      <a:pt x="1366" y="79"/>
                    </a:lnTo>
                    <a:lnTo>
                      <a:pt x="1369" y="102"/>
                    </a:lnTo>
                    <a:lnTo>
                      <a:pt x="1366" y="126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1"/>
                    </a:lnTo>
                    <a:lnTo>
                      <a:pt x="1311" y="194"/>
                    </a:lnTo>
                    <a:lnTo>
                      <a:pt x="1290" y="201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1"/>
                    </a:lnTo>
                    <a:lnTo>
                      <a:pt x="58" y="194"/>
                    </a:lnTo>
                    <a:lnTo>
                      <a:pt x="38" y="181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6"/>
                    </a:lnTo>
                    <a:lnTo>
                      <a:pt x="0" y="102"/>
                    </a:lnTo>
                    <a:lnTo>
                      <a:pt x="3" y="79"/>
                    </a:lnTo>
                    <a:lnTo>
                      <a:pt x="10" y="57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1"/>
                    </a:lnTo>
                    <a:lnTo>
                      <a:pt x="78" y="4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7" name="Freeform 154"/>
              <p:cNvSpPr>
                <a:spLocks/>
              </p:cNvSpPr>
              <p:nvPr/>
            </p:nvSpPr>
            <p:spPr bwMode="auto">
              <a:xfrm>
                <a:off x="5778" y="2947"/>
                <a:ext cx="92" cy="14"/>
              </a:xfrm>
              <a:custGeom>
                <a:avLst/>
                <a:gdLst>
                  <a:gd name="T0" fmla="*/ 0 w 1369"/>
                  <a:gd name="T1" fmla="*/ 0 h 203"/>
                  <a:gd name="T2" fmla="*/ 0 w 1369"/>
                  <a:gd name="T3" fmla="*/ 0 h 203"/>
                  <a:gd name="T4" fmla="*/ 0 w 1369"/>
                  <a:gd name="T5" fmla="*/ 0 h 203"/>
                  <a:gd name="T6" fmla="*/ 0 w 1369"/>
                  <a:gd name="T7" fmla="*/ 0 h 203"/>
                  <a:gd name="T8" fmla="*/ 0 w 1369"/>
                  <a:gd name="T9" fmla="*/ 0 h 203"/>
                  <a:gd name="T10" fmla="*/ 0 w 1369"/>
                  <a:gd name="T11" fmla="*/ 0 h 203"/>
                  <a:gd name="T12" fmla="*/ 0 w 1369"/>
                  <a:gd name="T13" fmla="*/ 0 h 203"/>
                  <a:gd name="T14" fmla="*/ 0 w 1369"/>
                  <a:gd name="T15" fmla="*/ 0 h 203"/>
                  <a:gd name="T16" fmla="*/ 0 w 1369"/>
                  <a:gd name="T17" fmla="*/ 0 h 203"/>
                  <a:gd name="T18" fmla="*/ 0 w 1369"/>
                  <a:gd name="T19" fmla="*/ 0 h 203"/>
                  <a:gd name="T20" fmla="*/ 0 w 1369"/>
                  <a:gd name="T21" fmla="*/ 0 h 203"/>
                  <a:gd name="T22" fmla="*/ 0 w 1369"/>
                  <a:gd name="T23" fmla="*/ 0 h 203"/>
                  <a:gd name="T24" fmla="*/ 0 w 1369"/>
                  <a:gd name="T25" fmla="*/ 0 h 203"/>
                  <a:gd name="T26" fmla="*/ 0 w 1369"/>
                  <a:gd name="T27" fmla="*/ 0 h 203"/>
                  <a:gd name="T28" fmla="*/ 0 w 1369"/>
                  <a:gd name="T29" fmla="*/ 0 h 203"/>
                  <a:gd name="T30" fmla="*/ 0 w 1369"/>
                  <a:gd name="T31" fmla="*/ 0 h 203"/>
                  <a:gd name="T32" fmla="*/ 0 w 1369"/>
                  <a:gd name="T33" fmla="*/ 0 h 203"/>
                  <a:gd name="T34" fmla="*/ 0 w 1369"/>
                  <a:gd name="T35" fmla="*/ 0 h 203"/>
                  <a:gd name="T36" fmla="*/ 0 w 1369"/>
                  <a:gd name="T37" fmla="*/ 0 h 203"/>
                  <a:gd name="T38" fmla="*/ 0 w 1369"/>
                  <a:gd name="T39" fmla="*/ 0 h 203"/>
                  <a:gd name="T40" fmla="*/ 0 w 1369"/>
                  <a:gd name="T41" fmla="*/ 0 h 203"/>
                  <a:gd name="T42" fmla="*/ 0 w 1369"/>
                  <a:gd name="T43" fmla="*/ 0 h 203"/>
                  <a:gd name="T44" fmla="*/ 0 w 1369"/>
                  <a:gd name="T45" fmla="*/ 0 h 203"/>
                  <a:gd name="T46" fmla="*/ 0 w 1369"/>
                  <a:gd name="T47" fmla="*/ 0 h 203"/>
                  <a:gd name="T48" fmla="*/ 0 w 1369"/>
                  <a:gd name="T49" fmla="*/ 0 h 203"/>
                  <a:gd name="T50" fmla="*/ 0 w 1369"/>
                  <a:gd name="T51" fmla="*/ 0 h 203"/>
                  <a:gd name="T52" fmla="*/ 0 w 1369"/>
                  <a:gd name="T53" fmla="*/ 0 h 203"/>
                  <a:gd name="T54" fmla="*/ 0 w 1369"/>
                  <a:gd name="T55" fmla="*/ 0 h 203"/>
                  <a:gd name="T56" fmla="*/ 0 w 1369"/>
                  <a:gd name="T57" fmla="*/ 0 h 203"/>
                  <a:gd name="T58" fmla="*/ 0 w 1369"/>
                  <a:gd name="T59" fmla="*/ 0 h 203"/>
                  <a:gd name="T60" fmla="*/ 0 w 1369"/>
                  <a:gd name="T61" fmla="*/ 0 h 20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3"/>
                  <a:gd name="T95" fmla="*/ 1369 w 1369"/>
                  <a:gd name="T96" fmla="*/ 203 h 20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3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2"/>
                    </a:lnTo>
                    <a:lnTo>
                      <a:pt x="1311" y="10"/>
                    </a:lnTo>
                    <a:lnTo>
                      <a:pt x="1331" y="22"/>
                    </a:lnTo>
                    <a:lnTo>
                      <a:pt x="1346" y="38"/>
                    </a:lnTo>
                    <a:lnTo>
                      <a:pt x="1359" y="56"/>
                    </a:lnTo>
                    <a:lnTo>
                      <a:pt x="1366" y="78"/>
                    </a:lnTo>
                    <a:lnTo>
                      <a:pt x="1369" y="101"/>
                    </a:lnTo>
                    <a:lnTo>
                      <a:pt x="1366" y="125"/>
                    </a:lnTo>
                    <a:lnTo>
                      <a:pt x="1359" y="145"/>
                    </a:lnTo>
                    <a:lnTo>
                      <a:pt x="1346" y="165"/>
                    </a:lnTo>
                    <a:lnTo>
                      <a:pt x="1331" y="180"/>
                    </a:lnTo>
                    <a:lnTo>
                      <a:pt x="1311" y="193"/>
                    </a:lnTo>
                    <a:lnTo>
                      <a:pt x="1290" y="200"/>
                    </a:lnTo>
                    <a:lnTo>
                      <a:pt x="1267" y="203"/>
                    </a:lnTo>
                    <a:lnTo>
                      <a:pt x="102" y="203"/>
                    </a:lnTo>
                    <a:lnTo>
                      <a:pt x="78" y="200"/>
                    </a:lnTo>
                    <a:lnTo>
                      <a:pt x="58" y="193"/>
                    </a:lnTo>
                    <a:lnTo>
                      <a:pt x="38" y="180"/>
                    </a:lnTo>
                    <a:lnTo>
                      <a:pt x="22" y="165"/>
                    </a:lnTo>
                    <a:lnTo>
                      <a:pt x="10" y="145"/>
                    </a:lnTo>
                    <a:lnTo>
                      <a:pt x="3" y="125"/>
                    </a:lnTo>
                    <a:lnTo>
                      <a:pt x="0" y="101"/>
                    </a:lnTo>
                    <a:lnTo>
                      <a:pt x="3" y="78"/>
                    </a:lnTo>
                    <a:lnTo>
                      <a:pt x="10" y="56"/>
                    </a:lnTo>
                    <a:lnTo>
                      <a:pt x="22" y="38"/>
                    </a:lnTo>
                    <a:lnTo>
                      <a:pt x="38" y="22"/>
                    </a:lnTo>
                    <a:lnTo>
                      <a:pt x="58" y="10"/>
                    </a:lnTo>
                    <a:lnTo>
                      <a:pt x="78" y="2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</p:grpSp>
      <p:sp>
        <p:nvSpPr>
          <p:cNvPr id="164" name="Rectangle 163"/>
          <p:cNvSpPr/>
          <p:nvPr/>
        </p:nvSpPr>
        <p:spPr>
          <a:xfrm>
            <a:off x="941265" y="2108626"/>
            <a:ext cx="8544168" cy="234000"/>
          </a:xfrm>
          <a:prstGeom prst="rect">
            <a:avLst/>
          </a:prstGeom>
          <a:noFill/>
          <a:ln w="19050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rgbClr val="0166B6">
                    <a:alpha val="35000"/>
                  </a:srgbClr>
                </a:gs>
              </a:gsLst>
              <a:lin ang="10800000" scaled="0"/>
            </a:gradFill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dirty="0">
                <a:latin typeface="Calibri" panose="020F0502020204030204" pitchFamily="34" charset="0"/>
              </a:rPr>
              <a:t>e-Sprawozdawczość</a:t>
            </a:r>
            <a:endParaRPr lang="en-US" altLang="pl-PL" sz="1083" b="1" dirty="0">
              <a:latin typeface="Calibri" panose="020F0502020204030204" pitchFamily="34" charset="0"/>
            </a:endParaRPr>
          </a:p>
        </p:txBody>
      </p:sp>
      <p:sp>
        <p:nvSpPr>
          <p:cNvPr id="221" name="Rectangle 220"/>
          <p:cNvSpPr/>
          <p:nvPr/>
        </p:nvSpPr>
        <p:spPr>
          <a:xfrm>
            <a:off x="531485" y="3506823"/>
            <a:ext cx="432150" cy="241940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pl-PL" sz="1517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pSp>
        <p:nvGrpSpPr>
          <p:cNvPr id="222" name="Group 148"/>
          <p:cNvGrpSpPr>
            <a:grpSpLocks noChangeAspect="1"/>
          </p:cNvGrpSpPr>
          <p:nvPr/>
        </p:nvGrpSpPr>
        <p:grpSpPr bwMode="auto">
          <a:xfrm>
            <a:off x="679641" y="3532240"/>
            <a:ext cx="159790" cy="192218"/>
            <a:chOff x="5748" y="2786"/>
            <a:chExt cx="202" cy="243"/>
          </a:xfrm>
        </p:grpSpPr>
        <p:sp>
          <p:nvSpPr>
            <p:cNvPr id="223" name="Freeform 150"/>
            <p:cNvSpPr>
              <a:spLocks noEditPoints="1"/>
            </p:cNvSpPr>
            <p:nvPr/>
          </p:nvSpPr>
          <p:spPr bwMode="auto">
            <a:xfrm>
              <a:off x="5748" y="2786"/>
              <a:ext cx="202" cy="243"/>
            </a:xfrm>
            <a:custGeom>
              <a:avLst/>
              <a:gdLst>
                <a:gd name="T0" fmla="*/ 0 w 2742"/>
                <a:gd name="T1" fmla="*/ 0 h 3361"/>
                <a:gd name="T2" fmla="*/ 0 w 2742"/>
                <a:gd name="T3" fmla="*/ 0 h 3361"/>
                <a:gd name="T4" fmla="*/ 0 w 2742"/>
                <a:gd name="T5" fmla="*/ 0 h 3361"/>
                <a:gd name="T6" fmla="*/ 0 w 2742"/>
                <a:gd name="T7" fmla="*/ 0 h 3361"/>
                <a:gd name="T8" fmla="*/ 0 w 2742"/>
                <a:gd name="T9" fmla="*/ 0 h 3361"/>
                <a:gd name="T10" fmla="*/ 0 w 2742"/>
                <a:gd name="T11" fmla="*/ 0 h 3361"/>
                <a:gd name="T12" fmla="*/ 0 w 2742"/>
                <a:gd name="T13" fmla="*/ 0 h 3361"/>
                <a:gd name="T14" fmla="*/ 0 w 2742"/>
                <a:gd name="T15" fmla="*/ 0 h 3361"/>
                <a:gd name="T16" fmla="*/ 0 w 2742"/>
                <a:gd name="T17" fmla="*/ 0 h 3361"/>
                <a:gd name="T18" fmla="*/ 0 w 2742"/>
                <a:gd name="T19" fmla="*/ 0 h 3361"/>
                <a:gd name="T20" fmla="*/ 0 w 2742"/>
                <a:gd name="T21" fmla="*/ 0 h 3361"/>
                <a:gd name="T22" fmla="*/ 0 w 2742"/>
                <a:gd name="T23" fmla="*/ 0 h 3361"/>
                <a:gd name="T24" fmla="*/ 0 w 2742"/>
                <a:gd name="T25" fmla="*/ 0 h 3361"/>
                <a:gd name="T26" fmla="*/ 0 w 2742"/>
                <a:gd name="T27" fmla="*/ 0 h 3361"/>
                <a:gd name="T28" fmla="*/ 0 w 2742"/>
                <a:gd name="T29" fmla="*/ 0 h 3361"/>
                <a:gd name="T30" fmla="*/ 0 w 2742"/>
                <a:gd name="T31" fmla="*/ 0 h 3361"/>
                <a:gd name="T32" fmla="*/ 0 w 2742"/>
                <a:gd name="T33" fmla="*/ 0 h 3361"/>
                <a:gd name="T34" fmla="*/ 0 w 2742"/>
                <a:gd name="T35" fmla="*/ 0 h 3361"/>
                <a:gd name="T36" fmla="*/ 0 w 2742"/>
                <a:gd name="T37" fmla="*/ 0 h 3361"/>
                <a:gd name="T38" fmla="*/ 0 w 2742"/>
                <a:gd name="T39" fmla="*/ 0 h 3361"/>
                <a:gd name="T40" fmla="*/ 0 w 2742"/>
                <a:gd name="T41" fmla="*/ 0 h 3361"/>
                <a:gd name="T42" fmla="*/ 0 w 2742"/>
                <a:gd name="T43" fmla="*/ 0 h 3361"/>
                <a:gd name="T44" fmla="*/ 0 w 2742"/>
                <a:gd name="T45" fmla="*/ 0 h 3361"/>
                <a:gd name="T46" fmla="*/ 0 w 2742"/>
                <a:gd name="T47" fmla="*/ 0 h 3361"/>
                <a:gd name="T48" fmla="*/ 0 w 2742"/>
                <a:gd name="T49" fmla="*/ 0 h 3361"/>
                <a:gd name="T50" fmla="*/ 0 w 2742"/>
                <a:gd name="T51" fmla="*/ 0 h 3361"/>
                <a:gd name="T52" fmla="*/ 0 w 2742"/>
                <a:gd name="T53" fmla="*/ 0 h 3361"/>
                <a:gd name="T54" fmla="*/ 0 w 2742"/>
                <a:gd name="T55" fmla="*/ 0 h 3361"/>
                <a:gd name="T56" fmla="*/ 0 w 2742"/>
                <a:gd name="T57" fmla="*/ 0 h 3361"/>
                <a:gd name="T58" fmla="*/ 0 w 2742"/>
                <a:gd name="T59" fmla="*/ 0 h 3361"/>
                <a:gd name="T60" fmla="*/ 0 w 2742"/>
                <a:gd name="T61" fmla="*/ 0 h 3361"/>
                <a:gd name="T62" fmla="*/ 0 w 2742"/>
                <a:gd name="T63" fmla="*/ 0 h 3361"/>
                <a:gd name="T64" fmla="*/ 0 w 2742"/>
                <a:gd name="T65" fmla="*/ 0 h 3361"/>
                <a:gd name="T66" fmla="*/ 0 w 2742"/>
                <a:gd name="T67" fmla="*/ 0 h 3361"/>
                <a:gd name="T68" fmla="*/ 0 w 2742"/>
                <a:gd name="T69" fmla="*/ 0 h 3361"/>
                <a:gd name="T70" fmla="*/ 0 w 2742"/>
                <a:gd name="T71" fmla="*/ 0 h 3361"/>
                <a:gd name="T72" fmla="*/ 0 w 2742"/>
                <a:gd name="T73" fmla="*/ 0 h 3361"/>
                <a:gd name="T74" fmla="*/ 0 w 2742"/>
                <a:gd name="T75" fmla="*/ 0 h 3361"/>
                <a:gd name="T76" fmla="*/ 0 w 2742"/>
                <a:gd name="T77" fmla="*/ 0 h 3361"/>
                <a:gd name="T78" fmla="*/ 0 w 2742"/>
                <a:gd name="T79" fmla="*/ 0 h 3361"/>
                <a:gd name="T80" fmla="*/ 0 w 2742"/>
                <a:gd name="T81" fmla="*/ 0 h 3361"/>
                <a:gd name="T82" fmla="*/ 0 w 2742"/>
                <a:gd name="T83" fmla="*/ 0 h 3361"/>
                <a:gd name="T84" fmla="*/ 0 w 2742"/>
                <a:gd name="T85" fmla="*/ 0 h 3361"/>
                <a:gd name="T86" fmla="*/ 0 w 2742"/>
                <a:gd name="T87" fmla="*/ 0 h 3361"/>
                <a:gd name="T88" fmla="*/ 0 w 2742"/>
                <a:gd name="T89" fmla="*/ 0 h 3361"/>
                <a:gd name="T90" fmla="*/ 0 w 2742"/>
                <a:gd name="T91" fmla="*/ 0 h 3361"/>
                <a:gd name="T92" fmla="*/ 0 w 2742"/>
                <a:gd name="T93" fmla="*/ 0 h 3361"/>
                <a:gd name="T94" fmla="*/ 0 w 2742"/>
                <a:gd name="T95" fmla="*/ 0 h 3361"/>
                <a:gd name="T96" fmla="*/ 0 w 2742"/>
                <a:gd name="T97" fmla="*/ 0 h 3361"/>
                <a:gd name="T98" fmla="*/ 0 w 2742"/>
                <a:gd name="T99" fmla="*/ 0 h 3361"/>
                <a:gd name="T100" fmla="*/ 0 w 2742"/>
                <a:gd name="T101" fmla="*/ 0 h 3361"/>
                <a:gd name="T102" fmla="*/ 0 w 2742"/>
                <a:gd name="T103" fmla="*/ 0 h 3361"/>
                <a:gd name="T104" fmla="*/ 0 w 2742"/>
                <a:gd name="T105" fmla="*/ 0 h 3361"/>
                <a:gd name="T106" fmla="*/ 0 w 2742"/>
                <a:gd name="T107" fmla="*/ 0 h 3361"/>
                <a:gd name="T108" fmla="*/ 0 w 2742"/>
                <a:gd name="T109" fmla="*/ 0 h 3361"/>
                <a:gd name="T110" fmla="*/ 0 w 2742"/>
                <a:gd name="T111" fmla="*/ 0 h 3361"/>
                <a:gd name="T112" fmla="*/ 0 w 2742"/>
                <a:gd name="T113" fmla="*/ 0 h 3361"/>
                <a:gd name="T114" fmla="*/ 0 w 2742"/>
                <a:gd name="T115" fmla="*/ 0 h 3361"/>
                <a:gd name="T116" fmla="*/ 0 w 2742"/>
                <a:gd name="T117" fmla="*/ 0 h 33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742"/>
                <a:gd name="T178" fmla="*/ 0 h 3361"/>
                <a:gd name="T179" fmla="*/ 2742 w 2742"/>
                <a:gd name="T180" fmla="*/ 3361 h 33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742" h="3361">
                  <a:moveTo>
                    <a:pt x="239" y="727"/>
                  </a:moveTo>
                  <a:lnTo>
                    <a:pt x="225" y="729"/>
                  </a:lnTo>
                  <a:lnTo>
                    <a:pt x="215" y="736"/>
                  </a:lnTo>
                  <a:lnTo>
                    <a:pt x="207" y="747"/>
                  </a:lnTo>
                  <a:lnTo>
                    <a:pt x="205" y="761"/>
                  </a:lnTo>
                  <a:lnTo>
                    <a:pt x="205" y="3123"/>
                  </a:lnTo>
                  <a:lnTo>
                    <a:pt x="207" y="3136"/>
                  </a:lnTo>
                  <a:lnTo>
                    <a:pt x="215" y="3147"/>
                  </a:lnTo>
                  <a:lnTo>
                    <a:pt x="225" y="3154"/>
                  </a:lnTo>
                  <a:lnTo>
                    <a:pt x="239" y="3157"/>
                  </a:lnTo>
                  <a:lnTo>
                    <a:pt x="2040" y="3157"/>
                  </a:lnTo>
                  <a:lnTo>
                    <a:pt x="2054" y="3154"/>
                  </a:lnTo>
                  <a:lnTo>
                    <a:pt x="2064" y="3147"/>
                  </a:lnTo>
                  <a:lnTo>
                    <a:pt x="2071" y="3136"/>
                  </a:lnTo>
                  <a:lnTo>
                    <a:pt x="2074" y="3123"/>
                  </a:lnTo>
                  <a:lnTo>
                    <a:pt x="2074" y="761"/>
                  </a:lnTo>
                  <a:lnTo>
                    <a:pt x="2071" y="747"/>
                  </a:lnTo>
                  <a:lnTo>
                    <a:pt x="2064" y="736"/>
                  </a:lnTo>
                  <a:lnTo>
                    <a:pt x="2054" y="729"/>
                  </a:lnTo>
                  <a:lnTo>
                    <a:pt x="2040" y="727"/>
                  </a:lnTo>
                  <a:lnTo>
                    <a:pt x="239" y="727"/>
                  </a:lnTo>
                  <a:close/>
                  <a:moveTo>
                    <a:pt x="702" y="204"/>
                  </a:moveTo>
                  <a:lnTo>
                    <a:pt x="688" y="207"/>
                  </a:lnTo>
                  <a:lnTo>
                    <a:pt x="678" y="214"/>
                  </a:lnTo>
                  <a:lnTo>
                    <a:pt x="671" y="225"/>
                  </a:lnTo>
                  <a:lnTo>
                    <a:pt x="668" y="238"/>
                  </a:lnTo>
                  <a:lnTo>
                    <a:pt x="668" y="523"/>
                  </a:lnTo>
                  <a:lnTo>
                    <a:pt x="2040" y="523"/>
                  </a:lnTo>
                  <a:lnTo>
                    <a:pt x="2078" y="526"/>
                  </a:lnTo>
                  <a:lnTo>
                    <a:pt x="2116" y="535"/>
                  </a:lnTo>
                  <a:lnTo>
                    <a:pt x="2150" y="549"/>
                  </a:lnTo>
                  <a:lnTo>
                    <a:pt x="2181" y="568"/>
                  </a:lnTo>
                  <a:lnTo>
                    <a:pt x="2209" y="592"/>
                  </a:lnTo>
                  <a:lnTo>
                    <a:pt x="2232" y="620"/>
                  </a:lnTo>
                  <a:lnTo>
                    <a:pt x="2252" y="651"/>
                  </a:lnTo>
                  <a:lnTo>
                    <a:pt x="2266" y="686"/>
                  </a:lnTo>
                  <a:lnTo>
                    <a:pt x="2276" y="722"/>
                  </a:lnTo>
                  <a:lnTo>
                    <a:pt x="2279" y="761"/>
                  </a:lnTo>
                  <a:lnTo>
                    <a:pt x="2279" y="2634"/>
                  </a:lnTo>
                  <a:lnTo>
                    <a:pt x="2503" y="2634"/>
                  </a:lnTo>
                  <a:lnTo>
                    <a:pt x="2517" y="2632"/>
                  </a:lnTo>
                  <a:lnTo>
                    <a:pt x="2528" y="2624"/>
                  </a:lnTo>
                  <a:lnTo>
                    <a:pt x="2535" y="2614"/>
                  </a:lnTo>
                  <a:lnTo>
                    <a:pt x="2537" y="2600"/>
                  </a:lnTo>
                  <a:lnTo>
                    <a:pt x="2537" y="238"/>
                  </a:lnTo>
                  <a:lnTo>
                    <a:pt x="2535" y="225"/>
                  </a:lnTo>
                  <a:lnTo>
                    <a:pt x="2528" y="214"/>
                  </a:lnTo>
                  <a:lnTo>
                    <a:pt x="2517" y="207"/>
                  </a:lnTo>
                  <a:lnTo>
                    <a:pt x="2503" y="204"/>
                  </a:lnTo>
                  <a:lnTo>
                    <a:pt x="702" y="204"/>
                  </a:lnTo>
                  <a:close/>
                  <a:moveTo>
                    <a:pt x="702" y="0"/>
                  </a:moveTo>
                  <a:lnTo>
                    <a:pt x="2503" y="0"/>
                  </a:lnTo>
                  <a:lnTo>
                    <a:pt x="2542" y="3"/>
                  </a:lnTo>
                  <a:lnTo>
                    <a:pt x="2579" y="13"/>
                  </a:lnTo>
                  <a:lnTo>
                    <a:pt x="2613" y="27"/>
                  </a:lnTo>
                  <a:lnTo>
                    <a:pt x="2645" y="47"/>
                  </a:lnTo>
                  <a:lnTo>
                    <a:pt x="2673" y="70"/>
                  </a:lnTo>
                  <a:lnTo>
                    <a:pt x="2696" y="98"/>
                  </a:lnTo>
                  <a:lnTo>
                    <a:pt x="2716" y="129"/>
                  </a:lnTo>
                  <a:lnTo>
                    <a:pt x="2731" y="163"/>
                  </a:lnTo>
                  <a:lnTo>
                    <a:pt x="2739" y="200"/>
                  </a:lnTo>
                  <a:lnTo>
                    <a:pt x="2742" y="238"/>
                  </a:lnTo>
                  <a:lnTo>
                    <a:pt x="2742" y="2600"/>
                  </a:lnTo>
                  <a:lnTo>
                    <a:pt x="2739" y="2639"/>
                  </a:lnTo>
                  <a:lnTo>
                    <a:pt x="2731" y="2675"/>
                  </a:lnTo>
                  <a:lnTo>
                    <a:pt x="2716" y="2709"/>
                  </a:lnTo>
                  <a:lnTo>
                    <a:pt x="2696" y="2741"/>
                  </a:lnTo>
                  <a:lnTo>
                    <a:pt x="2673" y="2768"/>
                  </a:lnTo>
                  <a:lnTo>
                    <a:pt x="2645" y="2792"/>
                  </a:lnTo>
                  <a:lnTo>
                    <a:pt x="2613" y="2811"/>
                  </a:lnTo>
                  <a:lnTo>
                    <a:pt x="2579" y="2825"/>
                  </a:lnTo>
                  <a:lnTo>
                    <a:pt x="2542" y="2835"/>
                  </a:lnTo>
                  <a:lnTo>
                    <a:pt x="2503" y="2838"/>
                  </a:lnTo>
                  <a:lnTo>
                    <a:pt x="2279" y="2838"/>
                  </a:lnTo>
                  <a:lnTo>
                    <a:pt x="2279" y="3123"/>
                  </a:lnTo>
                  <a:lnTo>
                    <a:pt x="2276" y="3161"/>
                  </a:lnTo>
                  <a:lnTo>
                    <a:pt x="2266" y="3197"/>
                  </a:lnTo>
                  <a:lnTo>
                    <a:pt x="2252" y="3232"/>
                  </a:lnTo>
                  <a:lnTo>
                    <a:pt x="2232" y="3263"/>
                  </a:lnTo>
                  <a:lnTo>
                    <a:pt x="2209" y="3291"/>
                  </a:lnTo>
                  <a:lnTo>
                    <a:pt x="2181" y="3314"/>
                  </a:lnTo>
                  <a:lnTo>
                    <a:pt x="2150" y="3334"/>
                  </a:lnTo>
                  <a:lnTo>
                    <a:pt x="2116" y="3348"/>
                  </a:lnTo>
                  <a:lnTo>
                    <a:pt x="2078" y="3356"/>
                  </a:lnTo>
                  <a:lnTo>
                    <a:pt x="2040" y="3361"/>
                  </a:lnTo>
                  <a:lnTo>
                    <a:pt x="239" y="3361"/>
                  </a:lnTo>
                  <a:lnTo>
                    <a:pt x="199" y="3356"/>
                  </a:lnTo>
                  <a:lnTo>
                    <a:pt x="163" y="3348"/>
                  </a:lnTo>
                  <a:lnTo>
                    <a:pt x="129" y="3334"/>
                  </a:lnTo>
                  <a:lnTo>
                    <a:pt x="97" y="3314"/>
                  </a:lnTo>
                  <a:lnTo>
                    <a:pt x="69" y="3291"/>
                  </a:lnTo>
                  <a:lnTo>
                    <a:pt x="45" y="3263"/>
                  </a:lnTo>
                  <a:lnTo>
                    <a:pt x="27" y="3232"/>
                  </a:lnTo>
                  <a:lnTo>
                    <a:pt x="12" y="3197"/>
                  </a:lnTo>
                  <a:lnTo>
                    <a:pt x="3" y="3161"/>
                  </a:lnTo>
                  <a:lnTo>
                    <a:pt x="0" y="3123"/>
                  </a:lnTo>
                  <a:lnTo>
                    <a:pt x="0" y="761"/>
                  </a:lnTo>
                  <a:lnTo>
                    <a:pt x="3" y="722"/>
                  </a:lnTo>
                  <a:lnTo>
                    <a:pt x="12" y="686"/>
                  </a:lnTo>
                  <a:lnTo>
                    <a:pt x="27" y="651"/>
                  </a:lnTo>
                  <a:lnTo>
                    <a:pt x="45" y="620"/>
                  </a:lnTo>
                  <a:lnTo>
                    <a:pt x="69" y="592"/>
                  </a:lnTo>
                  <a:lnTo>
                    <a:pt x="97" y="568"/>
                  </a:lnTo>
                  <a:lnTo>
                    <a:pt x="129" y="549"/>
                  </a:lnTo>
                  <a:lnTo>
                    <a:pt x="163" y="535"/>
                  </a:lnTo>
                  <a:lnTo>
                    <a:pt x="199" y="526"/>
                  </a:lnTo>
                  <a:lnTo>
                    <a:pt x="239" y="523"/>
                  </a:lnTo>
                  <a:lnTo>
                    <a:pt x="463" y="523"/>
                  </a:lnTo>
                  <a:lnTo>
                    <a:pt x="463" y="238"/>
                  </a:lnTo>
                  <a:lnTo>
                    <a:pt x="466" y="200"/>
                  </a:lnTo>
                  <a:lnTo>
                    <a:pt x="475" y="163"/>
                  </a:lnTo>
                  <a:lnTo>
                    <a:pt x="490" y="129"/>
                  </a:lnTo>
                  <a:lnTo>
                    <a:pt x="510" y="98"/>
                  </a:lnTo>
                  <a:lnTo>
                    <a:pt x="533" y="70"/>
                  </a:lnTo>
                  <a:lnTo>
                    <a:pt x="561" y="47"/>
                  </a:lnTo>
                  <a:lnTo>
                    <a:pt x="592" y="27"/>
                  </a:lnTo>
                  <a:lnTo>
                    <a:pt x="626" y="13"/>
                  </a:lnTo>
                  <a:lnTo>
                    <a:pt x="664" y="3"/>
                  </a:lnTo>
                  <a:lnTo>
                    <a:pt x="7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24" name="Freeform 151"/>
            <p:cNvSpPr>
              <a:spLocks/>
            </p:cNvSpPr>
            <p:nvPr/>
          </p:nvSpPr>
          <p:spPr bwMode="auto">
            <a:xfrm>
              <a:off x="5778" y="2856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0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5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2"/>
                  </a:lnTo>
                  <a:lnTo>
                    <a:pt x="1311" y="193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3"/>
                  </a:lnTo>
                  <a:lnTo>
                    <a:pt x="38" y="182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5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0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25" name="Freeform 152"/>
            <p:cNvSpPr>
              <a:spLocks/>
            </p:cNvSpPr>
            <p:nvPr/>
          </p:nvSpPr>
          <p:spPr bwMode="auto">
            <a:xfrm>
              <a:off x="5778" y="2886"/>
              <a:ext cx="92" cy="14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8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3"/>
                  </a:lnTo>
                  <a:lnTo>
                    <a:pt x="1290" y="202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2"/>
                  </a:lnTo>
                  <a:lnTo>
                    <a:pt x="58" y="193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8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26" name="Freeform 153"/>
            <p:cNvSpPr>
              <a:spLocks/>
            </p:cNvSpPr>
            <p:nvPr/>
          </p:nvSpPr>
          <p:spPr bwMode="auto">
            <a:xfrm>
              <a:off x="5778" y="2917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4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7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4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4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7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4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27" name="Freeform 154"/>
            <p:cNvSpPr>
              <a:spLocks/>
            </p:cNvSpPr>
            <p:nvPr/>
          </p:nvSpPr>
          <p:spPr bwMode="auto">
            <a:xfrm>
              <a:off x="5778" y="2947"/>
              <a:ext cx="92" cy="14"/>
            </a:xfrm>
            <a:custGeom>
              <a:avLst/>
              <a:gdLst>
                <a:gd name="T0" fmla="*/ 0 w 1369"/>
                <a:gd name="T1" fmla="*/ 0 h 203"/>
                <a:gd name="T2" fmla="*/ 0 w 1369"/>
                <a:gd name="T3" fmla="*/ 0 h 203"/>
                <a:gd name="T4" fmla="*/ 0 w 1369"/>
                <a:gd name="T5" fmla="*/ 0 h 203"/>
                <a:gd name="T6" fmla="*/ 0 w 1369"/>
                <a:gd name="T7" fmla="*/ 0 h 203"/>
                <a:gd name="T8" fmla="*/ 0 w 1369"/>
                <a:gd name="T9" fmla="*/ 0 h 203"/>
                <a:gd name="T10" fmla="*/ 0 w 1369"/>
                <a:gd name="T11" fmla="*/ 0 h 203"/>
                <a:gd name="T12" fmla="*/ 0 w 1369"/>
                <a:gd name="T13" fmla="*/ 0 h 203"/>
                <a:gd name="T14" fmla="*/ 0 w 1369"/>
                <a:gd name="T15" fmla="*/ 0 h 203"/>
                <a:gd name="T16" fmla="*/ 0 w 1369"/>
                <a:gd name="T17" fmla="*/ 0 h 203"/>
                <a:gd name="T18" fmla="*/ 0 w 1369"/>
                <a:gd name="T19" fmla="*/ 0 h 203"/>
                <a:gd name="T20" fmla="*/ 0 w 1369"/>
                <a:gd name="T21" fmla="*/ 0 h 203"/>
                <a:gd name="T22" fmla="*/ 0 w 1369"/>
                <a:gd name="T23" fmla="*/ 0 h 203"/>
                <a:gd name="T24" fmla="*/ 0 w 1369"/>
                <a:gd name="T25" fmla="*/ 0 h 203"/>
                <a:gd name="T26" fmla="*/ 0 w 1369"/>
                <a:gd name="T27" fmla="*/ 0 h 203"/>
                <a:gd name="T28" fmla="*/ 0 w 1369"/>
                <a:gd name="T29" fmla="*/ 0 h 203"/>
                <a:gd name="T30" fmla="*/ 0 w 1369"/>
                <a:gd name="T31" fmla="*/ 0 h 203"/>
                <a:gd name="T32" fmla="*/ 0 w 1369"/>
                <a:gd name="T33" fmla="*/ 0 h 203"/>
                <a:gd name="T34" fmla="*/ 0 w 1369"/>
                <a:gd name="T35" fmla="*/ 0 h 203"/>
                <a:gd name="T36" fmla="*/ 0 w 1369"/>
                <a:gd name="T37" fmla="*/ 0 h 203"/>
                <a:gd name="T38" fmla="*/ 0 w 1369"/>
                <a:gd name="T39" fmla="*/ 0 h 203"/>
                <a:gd name="T40" fmla="*/ 0 w 1369"/>
                <a:gd name="T41" fmla="*/ 0 h 203"/>
                <a:gd name="T42" fmla="*/ 0 w 1369"/>
                <a:gd name="T43" fmla="*/ 0 h 203"/>
                <a:gd name="T44" fmla="*/ 0 w 1369"/>
                <a:gd name="T45" fmla="*/ 0 h 203"/>
                <a:gd name="T46" fmla="*/ 0 w 1369"/>
                <a:gd name="T47" fmla="*/ 0 h 203"/>
                <a:gd name="T48" fmla="*/ 0 w 1369"/>
                <a:gd name="T49" fmla="*/ 0 h 203"/>
                <a:gd name="T50" fmla="*/ 0 w 1369"/>
                <a:gd name="T51" fmla="*/ 0 h 203"/>
                <a:gd name="T52" fmla="*/ 0 w 1369"/>
                <a:gd name="T53" fmla="*/ 0 h 203"/>
                <a:gd name="T54" fmla="*/ 0 w 1369"/>
                <a:gd name="T55" fmla="*/ 0 h 203"/>
                <a:gd name="T56" fmla="*/ 0 w 1369"/>
                <a:gd name="T57" fmla="*/ 0 h 203"/>
                <a:gd name="T58" fmla="*/ 0 w 1369"/>
                <a:gd name="T59" fmla="*/ 0 h 203"/>
                <a:gd name="T60" fmla="*/ 0 w 1369"/>
                <a:gd name="T61" fmla="*/ 0 h 20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3"/>
                <a:gd name="T95" fmla="*/ 1369 w 1369"/>
                <a:gd name="T96" fmla="*/ 203 h 20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3">
                  <a:moveTo>
                    <a:pt x="102" y="0"/>
                  </a:moveTo>
                  <a:lnTo>
                    <a:pt x="1267" y="0"/>
                  </a:lnTo>
                  <a:lnTo>
                    <a:pt x="1290" y="2"/>
                  </a:lnTo>
                  <a:lnTo>
                    <a:pt x="1311" y="10"/>
                  </a:lnTo>
                  <a:lnTo>
                    <a:pt x="1331" y="22"/>
                  </a:lnTo>
                  <a:lnTo>
                    <a:pt x="1346" y="38"/>
                  </a:lnTo>
                  <a:lnTo>
                    <a:pt x="1359" y="56"/>
                  </a:lnTo>
                  <a:lnTo>
                    <a:pt x="1366" y="78"/>
                  </a:lnTo>
                  <a:lnTo>
                    <a:pt x="1369" y="101"/>
                  </a:lnTo>
                  <a:lnTo>
                    <a:pt x="1366" y="125"/>
                  </a:lnTo>
                  <a:lnTo>
                    <a:pt x="1359" y="145"/>
                  </a:lnTo>
                  <a:lnTo>
                    <a:pt x="1346" y="165"/>
                  </a:lnTo>
                  <a:lnTo>
                    <a:pt x="1331" y="180"/>
                  </a:lnTo>
                  <a:lnTo>
                    <a:pt x="1311" y="193"/>
                  </a:lnTo>
                  <a:lnTo>
                    <a:pt x="1290" y="200"/>
                  </a:lnTo>
                  <a:lnTo>
                    <a:pt x="1267" y="203"/>
                  </a:lnTo>
                  <a:lnTo>
                    <a:pt x="102" y="203"/>
                  </a:lnTo>
                  <a:lnTo>
                    <a:pt x="78" y="200"/>
                  </a:lnTo>
                  <a:lnTo>
                    <a:pt x="58" y="193"/>
                  </a:lnTo>
                  <a:lnTo>
                    <a:pt x="38" y="180"/>
                  </a:lnTo>
                  <a:lnTo>
                    <a:pt x="22" y="165"/>
                  </a:lnTo>
                  <a:lnTo>
                    <a:pt x="10" y="145"/>
                  </a:lnTo>
                  <a:lnTo>
                    <a:pt x="3" y="125"/>
                  </a:lnTo>
                  <a:lnTo>
                    <a:pt x="0" y="101"/>
                  </a:lnTo>
                  <a:lnTo>
                    <a:pt x="3" y="78"/>
                  </a:lnTo>
                  <a:lnTo>
                    <a:pt x="10" y="56"/>
                  </a:lnTo>
                  <a:lnTo>
                    <a:pt x="22" y="38"/>
                  </a:lnTo>
                  <a:lnTo>
                    <a:pt x="38" y="22"/>
                  </a:lnTo>
                  <a:lnTo>
                    <a:pt x="58" y="10"/>
                  </a:lnTo>
                  <a:lnTo>
                    <a:pt x="78" y="2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33" name="Rectangle 232"/>
          <p:cNvSpPr/>
          <p:nvPr/>
        </p:nvSpPr>
        <p:spPr>
          <a:xfrm>
            <a:off x="952451" y="3509298"/>
            <a:ext cx="8544168" cy="234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rgbClr val="0166B6">
                  <a:alpha val="15000"/>
                </a:srgbClr>
              </a:gs>
            </a:gsLst>
            <a:lin ang="10800000" scaled="0"/>
          </a:gradFill>
          <a:ln w="19050">
            <a:noFill/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dirty="0">
                <a:latin typeface="Calibri" panose="020F0502020204030204" pitchFamily="34" charset="0"/>
              </a:rPr>
              <a:t>e-Faktura i e-Paragon </a:t>
            </a:r>
            <a:endParaRPr lang="en-US" altLang="pl-PL" sz="1083" b="1" dirty="0">
              <a:latin typeface="Calibri" panose="020F0502020204030204" pitchFamily="34" charset="0"/>
            </a:endParaRPr>
          </a:p>
        </p:txBody>
      </p:sp>
      <p:sp>
        <p:nvSpPr>
          <p:cNvPr id="232" name="Rectangle 231"/>
          <p:cNvSpPr/>
          <p:nvPr/>
        </p:nvSpPr>
        <p:spPr>
          <a:xfrm>
            <a:off x="952451" y="3070207"/>
            <a:ext cx="8544168" cy="351000"/>
          </a:xfrm>
          <a:prstGeom prst="rect">
            <a:avLst/>
          </a:prstGeom>
          <a:noFill/>
          <a:ln w="19050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rgbClr val="0166B6">
                    <a:alpha val="35000"/>
                  </a:srgbClr>
                </a:gs>
              </a:gsLst>
              <a:lin ang="10800000" scaled="0"/>
            </a:gra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i="1" dirty="0">
                <a:latin typeface="Calibri" panose="020F0502020204030204" pitchFamily="34" charset="0"/>
              </a:rPr>
              <a:t>Zwiększenie Obrotu </a:t>
            </a:r>
            <a:r>
              <a:rPr lang="pl-PL" altLang="pl-PL" sz="1083" b="1" i="1" dirty="0" smtClean="0">
                <a:latin typeface="Calibri" panose="020F0502020204030204" pitchFamily="34" charset="0"/>
              </a:rPr>
              <a:t>Bezgotówkowego</a:t>
            </a:r>
            <a:endParaRPr lang="pl-PL" altLang="pl-PL" sz="1083" b="1" i="1" dirty="0">
              <a:latin typeface="Calibri" panose="020F0502020204030204" pitchFamily="34" charset="0"/>
            </a:endParaRPr>
          </a:p>
        </p:txBody>
      </p:sp>
      <p:sp>
        <p:nvSpPr>
          <p:cNvPr id="220" name="Rectangle 219"/>
          <p:cNvSpPr/>
          <p:nvPr/>
        </p:nvSpPr>
        <p:spPr>
          <a:xfrm>
            <a:off x="531485" y="3067188"/>
            <a:ext cx="428685" cy="364650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pl-PL" sz="1517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pSp>
        <p:nvGrpSpPr>
          <p:cNvPr id="240" name="Group 32"/>
          <p:cNvGrpSpPr>
            <a:grpSpLocks noChangeAspect="1"/>
          </p:cNvGrpSpPr>
          <p:nvPr/>
        </p:nvGrpSpPr>
        <p:grpSpPr bwMode="auto">
          <a:xfrm>
            <a:off x="654651" y="3152140"/>
            <a:ext cx="209769" cy="209768"/>
            <a:chOff x="908050" y="1485901"/>
            <a:chExt cx="1100655" cy="929506"/>
          </a:xfrm>
        </p:grpSpPr>
        <p:sp>
          <p:nvSpPr>
            <p:cNvPr id="241" name="Freeform 61"/>
            <p:cNvSpPr>
              <a:spLocks/>
            </p:cNvSpPr>
            <p:nvPr/>
          </p:nvSpPr>
          <p:spPr bwMode="auto">
            <a:xfrm>
              <a:off x="1183678" y="2096125"/>
              <a:ext cx="726139" cy="319282"/>
            </a:xfrm>
            <a:custGeom>
              <a:avLst/>
              <a:gdLst>
                <a:gd name="T0" fmla="*/ 2147483647 w 2677"/>
                <a:gd name="T1" fmla="*/ 2147483647 h 1179"/>
                <a:gd name="T2" fmla="*/ 2147483647 w 2677"/>
                <a:gd name="T3" fmla="*/ 2147483647 h 1179"/>
                <a:gd name="T4" fmla="*/ 2147483647 w 2677"/>
                <a:gd name="T5" fmla="*/ 2147483647 h 1179"/>
                <a:gd name="T6" fmla="*/ 2147483647 w 2677"/>
                <a:gd name="T7" fmla="*/ 2147483647 h 1179"/>
                <a:gd name="T8" fmla="*/ 2147483647 w 2677"/>
                <a:gd name="T9" fmla="*/ 2147483647 h 1179"/>
                <a:gd name="T10" fmla="*/ 2147483647 w 2677"/>
                <a:gd name="T11" fmla="*/ 2147483647 h 1179"/>
                <a:gd name="T12" fmla="*/ 2147483647 w 2677"/>
                <a:gd name="T13" fmla="*/ 2147483647 h 1179"/>
                <a:gd name="T14" fmla="*/ 2147483647 w 2677"/>
                <a:gd name="T15" fmla="*/ 2147483647 h 1179"/>
                <a:gd name="T16" fmla="*/ 2147483647 w 2677"/>
                <a:gd name="T17" fmla="*/ 2147483647 h 1179"/>
                <a:gd name="T18" fmla="*/ 2147483647 w 2677"/>
                <a:gd name="T19" fmla="*/ 2147483647 h 1179"/>
                <a:gd name="T20" fmla="*/ 2147483647 w 2677"/>
                <a:gd name="T21" fmla="*/ 2147483647 h 1179"/>
                <a:gd name="T22" fmla="*/ 2147483647 w 2677"/>
                <a:gd name="T23" fmla="*/ 2147483647 h 1179"/>
                <a:gd name="T24" fmla="*/ 2147483647 w 2677"/>
                <a:gd name="T25" fmla="*/ 2147483647 h 1179"/>
                <a:gd name="T26" fmla="*/ 2147483647 w 2677"/>
                <a:gd name="T27" fmla="*/ 2147483647 h 1179"/>
                <a:gd name="T28" fmla="*/ 2147483647 w 2677"/>
                <a:gd name="T29" fmla="*/ 2147483647 h 1179"/>
                <a:gd name="T30" fmla="*/ 2147483647 w 2677"/>
                <a:gd name="T31" fmla="*/ 2147483647 h 1179"/>
                <a:gd name="T32" fmla="*/ 2147483647 w 2677"/>
                <a:gd name="T33" fmla="*/ 2147483647 h 1179"/>
                <a:gd name="T34" fmla="*/ 2147483647 w 2677"/>
                <a:gd name="T35" fmla="*/ 2147483647 h 1179"/>
                <a:gd name="T36" fmla="*/ 2147483647 w 2677"/>
                <a:gd name="T37" fmla="*/ 2147483647 h 1179"/>
                <a:gd name="T38" fmla="*/ 2147483647 w 2677"/>
                <a:gd name="T39" fmla="*/ 2147483647 h 1179"/>
                <a:gd name="T40" fmla="*/ 2147483647 w 2677"/>
                <a:gd name="T41" fmla="*/ 2147483647 h 1179"/>
                <a:gd name="T42" fmla="*/ 2147483647 w 2677"/>
                <a:gd name="T43" fmla="*/ 2147483647 h 1179"/>
                <a:gd name="T44" fmla="*/ 2147483647 w 2677"/>
                <a:gd name="T45" fmla="*/ 2147483647 h 1179"/>
                <a:gd name="T46" fmla="*/ 2147483647 w 2677"/>
                <a:gd name="T47" fmla="*/ 2147483647 h 1179"/>
                <a:gd name="T48" fmla="*/ 2147483647 w 2677"/>
                <a:gd name="T49" fmla="*/ 2147483647 h 1179"/>
                <a:gd name="T50" fmla="*/ 2147483647 w 2677"/>
                <a:gd name="T51" fmla="*/ 2147483647 h 1179"/>
                <a:gd name="T52" fmla="*/ 2147483647 w 2677"/>
                <a:gd name="T53" fmla="*/ 2147483647 h 1179"/>
                <a:gd name="T54" fmla="*/ 2147483647 w 2677"/>
                <a:gd name="T55" fmla="*/ 2147483647 h 1179"/>
                <a:gd name="T56" fmla="*/ 2147483647 w 2677"/>
                <a:gd name="T57" fmla="*/ 2147483647 h 1179"/>
                <a:gd name="T58" fmla="*/ 2147483647 w 2677"/>
                <a:gd name="T59" fmla="*/ 2147483647 h 1179"/>
                <a:gd name="T60" fmla="*/ 2147483647 w 2677"/>
                <a:gd name="T61" fmla="*/ 2147483647 h 1179"/>
                <a:gd name="T62" fmla="*/ 2147483647 w 2677"/>
                <a:gd name="T63" fmla="*/ 2147483647 h 1179"/>
                <a:gd name="T64" fmla="*/ 2147483647 w 2677"/>
                <a:gd name="T65" fmla="*/ 2147483647 h 1179"/>
                <a:gd name="T66" fmla="*/ 2147483647 w 2677"/>
                <a:gd name="T67" fmla="*/ 2147483647 h 1179"/>
                <a:gd name="T68" fmla="*/ 2147483647 w 2677"/>
                <a:gd name="T69" fmla="*/ 2147483647 h 1179"/>
                <a:gd name="T70" fmla="*/ 2147483647 w 2677"/>
                <a:gd name="T71" fmla="*/ 2147483647 h 1179"/>
                <a:gd name="T72" fmla="*/ 2147483647 w 2677"/>
                <a:gd name="T73" fmla="*/ 2147483647 h 1179"/>
                <a:gd name="T74" fmla="*/ 2147483647 w 2677"/>
                <a:gd name="T75" fmla="*/ 2147483647 h 1179"/>
                <a:gd name="T76" fmla="*/ 2147483647 w 2677"/>
                <a:gd name="T77" fmla="*/ 2147483647 h 1179"/>
                <a:gd name="T78" fmla="*/ 2147483647 w 2677"/>
                <a:gd name="T79" fmla="*/ 2147483647 h 1179"/>
                <a:gd name="T80" fmla="*/ 2147483647 w 2677"/>
                <a:gd name="T81" fmla="*/ 2147483647 h 1179"/>
                <a:gd name="T82" fmla="*/ 2147483647 w 2677"/>
                <a:gd name="T83" fmla="*/ 2147483647 h 1179"/>
                <a:gd name="T84" fmla="*/ 0 w 2677"/>
                <a:gd name="T85" fmla="*/ 2147483647 h 1179"/>
                <a:gd name="T86" fmla="*/ 2147483647 w 2677"/>
                <a:gd name="T87" fmla="*/ 2147483647 h 1179"/>
                <a:gd name="T88" fmla="*/ 2147483647 w 2677"/>
                <a:gd name="T89" fmla="*/ 2147483647 h 1179"/>
                <a:gd name="T90" fmla="*/ 2147483647 w 2677"/>
                <a:gd name="T91" fmla="*/ 2147483647 h 1179"/>
                <a:gd name="T92" fmla="*/ 2147483647 w 2677"/>
                <a:gd name="T93" fmla="*/ 2147483647 h 1179"/>
                <a:gd name="T94" fmla="*/ 2147483647 w 2677"/>
                <a:gd name="T95" fmla="*/ 2147483647 h 1179"/>
                <a:gd name="T96" fmla="*/ 2147483647 w 2677"/>
                <a:gd name="T97" fmla="*/ 2147483647 h 1179"/>
                <a:gd name="T98" fmla="*/ 2147483647 w 2677"/>
                <a:gd name="T99" fmla="*/ 2147483647 h 1179"/>
                <a:gd name="T100" fmla="*/ 2147483647 w 2677"/>
                <a:gd name="T101" fmla="*/ 2147483647 h 1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677"/>
                <a:gd name="T154" fmla="*/ 0 h 1179"/>
                <a:gd name="T155" fmla="*/ 2677 w 2677"/>
                <a:gd name="T156" fmla="*/ 1179 h 117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677" h="1179">
                  <a:moveTo>
                    <a:pt x="722" y="0"/>
                  </a:moveTo>
                  <a:lnTo>
                    <a:pt x="760" y="2"/>
                  </a:lnTo>
                  <a:lnTo>
                    <a:pt x="802" y="8"/>
                  </a:lnTo>
                  <a:lnTo>
                    <a:pt x="846" y="15"/>
                  </a:lnTo>
                  <a:lnTo>
                    <a:pt x="895" y="24"/>
                  </a:lnTo>
                  <a:lnTo>
                    <a:pt x="945" y="35"/>
                  </a:lnTo>
                  <a:lnTo>
                    <a:pt x="998" y="47"/>
                  </a:lnTo>
                  <a:lnTo>
                    <a:pt x="1051" y="61"/>
                  </a:lnTo>
                  <a:lnTo>
                    <a:pt x="1106" y="75"/>
                  </a:lnTo>
                  <a:lnTo>
                    <a:pt x="1162" y="91"/>
                  </a:lnTo>
                  <a:lnTo>
                    <a:pt x="1217" y="106"/>
                  </a:lnTo>
                  <a:lnTo>
                    <a:pt x="1272" y="122"/>
                  </a:lnTo>
                  <a:lnTo>
                    <a:pt x="1326" y="139"/>
                  </a:lnTo>
                  <a:lnTo>
                    <a:pt x="1378" y="156"/>
                  </a:lnTo>
                  <a:lnTo>
                    <a:pt x="1429" y="171"/>
                  </a:lnTo>
                  <a:lnTo>
                    <a:pt x="1477" y="187"/>
                  </a:lnTo>
                  <a:lnTo>
                    <a:pt x="1522" y="202"/>
                  </a:lnTo>
                  <a:lnTo>
                    <a:pt x="1563" y="215"/>
                  </a:lnTo>
                  <a:lnTo>
                    <a:pt x="1601" y="226"/>
                  </a:lnTo>
                  <a:lnTo>
                    <a:pt x="1635" y="238"/>
                  </a:lnTo>
                  <a:lnTo>
                    <a:pt x="1663" y="245"/>
                  </a:lnTo>
                  <a:lnTo>
                    <a:pt x="1686" y="252"/>
                  </a:lnTo>
                  <a:lnTo>
                    <a:pt x="1704" y="257"/>
                  </a:lnTo>
                  <a:lnTo>
                    <a:pt x="1722" y="263"/>
                  </a:lnTo>
                  <a:lnTo>
                    <a:pt x="1739" y="273"/>
                  </a:lnTo>
                  <a:lnTo>
                    <a:pt x="1754" y="286"/>
                  </a:lnTo>
                  <a:lnTo>
                    <a:pt x="1766" y="300"/>
                  </a:lnTo>
                  <a:lnTo>
                    <a:pt x="1776" y="317"/>
                  </a:lnTo>
                  <a:lnTo>
                    <a:pt x="1782" y="335"/>
                  </a:lnTo>
                  <a:lnTo>
                    <a:pt x="1786" y="355"/>
                  </a:lnTo>
                  <a:lnTo>
                    <a:pt x="1786" y="375"/>
                  </a:lnTo>
                  <a:lnTo>
                    <a:pt x="1783" y="395"/>
                  </a:lnTo>
                  <a:lnTo>
                    <a:pt x="1775" y="417"/>
                  </a:lnTo>
                  <a:lnTo>
                    <a:pt x="1765" y="437"/>
                  </a:lnTo>
                  <a:lnTo>
                    <a:pt x="1749" y="456"/>
                  </a:lnTo>
                  <a:lnTo>
                    <a:pt x="1730" y="474"/>
                  </a:lnTo>
                  <a:lnTo>
                    <a:pt x="1705" y="490"/>
                  </a:lnTo>
                  <a:lnTo>
                    <a:pt x="1676" y="503"/>
                  </a:lnTo>
                  <a:lnTo>
                    <a:pt x="1643" y="514"/>
                  </a:lnTo>
                  <a:lnTo>
                    <a:pt x="1606" y="522"/>
                  </a:lnTo>
                  <a:lnTo>
                    <a:pt x="1567" y="528"/>
                  </a:lnTo>
                  <a:lnTo>
                    <a:pt x="1526" y="531"/>
                  </a:lnTo>
                  <a:lnTo>
                    <a:pt x="1485" y="532"/>
                  </a:lnTo>
                  <a:lnTo>
                    <a:pt x="1442" y="531"/>
                  </a:lnTo>
                  <a:lnTo>
                    <a:pt x="1400" y="529"/>
                  </a:lnTo>
                  <a:lnTo>
                    <a:pt x="1356" y="525"/>
                  </a:lnTo>
                  <a:lnTo>
                    <a:pt x="1315" y="520"/>
                  </a:lnTo>
                  <a:lnTo>
                    <a:pt x="1273" y="514"/>
                  </a:lnTo>
                  <a:lnTo>
                    <a:pt x="1232" y="508"/>
                  </a:lnTo>
                  <a:lnTo>
                    <a:pt x="1194" y="501"/>
                  </a:lnTo>
                  <a:lnTo>
                    <a:pt x="1157" y="494"/>
                  </a:lnTo>
                  <a:lnTo>
                    <a:pt x="1122" y="488"/>
                  </a:lnTo>
                  <a:lnTo>
                    <a:pt x="1089" y="482"/>
                  </a:lnTo>
                  <a:lnTo>
                    <a:pt x="1060" y="477"/>
                  </a:lnTo>
                  <a:lnTo>
                    <a:pt x="1035" y="473"/>
                  </a:lnTo>
                  <a:lnTo>
                    <a:pt x="1013" y="469"/>
                  </a:lnTo>
                  <a:lnTo>
                    <a:pt x="995" y="468"/>
                  </a:lnTo>
                  <a:lnTo>
                    <a:pt x="983" y="468"/>
                  </a:lnTo>
                  <a:lnTo>
                    <a:pt x="974" y="472"/>
                  </a:lnTo>
                  <a:lnTo>
                    <a:pt x="972" y="476"/>
                  </a:lnTo>
                  <a:lnTo>
                    <a:pt x="975" y="494"/>
                  </a:lnTo>
                  <a:lnTo>
                    <a:pt x="986" y="511"/>
                  </a:lnTo>
                  <a:lnTo>
                    <a:pt x="1004" y="528"/>
                  </a:lnTo>
                  <a:lnTo>
                    <a:pt x="1029" y="544"/>
                  </a:lnTo>
                  <a:lnTo>
                    <a:pt x="1058" y="560"/>
                  </a:lnTo>
                  <a:lnTo>
                    <a:pt x="1093" y="575"/>
                  </a:lnTo>
                  <a:lnTo>
                    <a:pt x="1131" y="588"/>
                  </a:lnTo>
                  <a:lnTo>
                    <a:pt x="1173" y="602"/>
                  </a:lnTo>
                  <a:lnTo>
                    <a:pt x="1218" y="613"/>
                  </a:lnTo>
                  <a:lnTo>
                    <a:pt x="1266" y="623"/>
                  </a:lnTo>
                  <a:lnTo>
                    <a:pt x="1316" y="632"/>
                  </a:lnTo>
                  <a:lnTo>
                    <a:pt x="1366" y="640"/>
                  </a:lnTo>
                  <a:lnTo>
                    <a:pt x="1418" y="646"/>
                  </a:lnTo>
                  <a:lnTo>
                    <a:pt x="1468" y="651"/>
                  </a:lnTo>
                  <a:lnTo>
                    <a:pt x="1518" y="653"/>
                  </a:lnTo>
                  <a:lnTo>
                    <a:pt x="1568" y="654"/>
                  </a:lnTo>
                  <a:lnTo>
                    <a:pt x="1616" y="653"/>
                  </a:lnTo>
                  <a:lnTo>
                    <a:pt x="1661" y="651"/>
                  </a:lnTo>
                  <a:lnTo>
                    <a:pt x="1702" y="645"/>
                  </a:lnTo>
                  <a:lnTo>
                    <a:pt x="1809" y="626"/>
                  </a:lnTo>
                  <a:lnTo>
                    <a:pt x="1915" y="602"/>
                  </a:lnTo>
                  <a:lnTo>
                    <a:pt x="2019" y="572"/>
                  </a:lnTo>
                  <a:lnTo>
                    <a:pt x="2120" y="539"/>
                  </a:lnTo>
                  <a:lnTo>
                    <a:pt x="2218" y="503"/>
                  </a:lnTo>
                  <a:lnTo>
                    <a:pt x="2311" y="464"/>
                  </a:lnTo>
                  <a:lnTo>
                    <a:pt x="2399" y="422"/>
                  </a:lnTo>
                  <a:lnTo>
                    <a:pt x="2481" y="380"/>
                  </a:lnTo>
                  <a:lnTo>
                    <a:pt x="2511" y="366"/>
                  </a:lnTo>
                  <a:lnTo>
                    <a:pt x="2540" y="361"/>
                  </a:lnTo>
                  <a:lnTo>
                    <a:pt x="2567" y="360"/>
                  </a:lnTo>
                  <a:lnTo>
                    <a:pt x="2593" y="365"/>
                  </a:lnTo>
                  <a:lnTo>
                    <a:pt x="2616" y="375"/>
                  </a:lnTo>
                  <a:lnTo>
                    <a:pt x="2636" y="390"/>
                  </a:lnTo>
                  <a:lnTo>
                    <a:pt x="2653" y="409"/>
                  </a:lnTo>
                  <a:lnTo>
                    <a:pt x="2665" y="432"/>
                  </a:lnTo>
                  <a:lnTo>
                    <a:pt x="2673" y="458"/>
                  </a:lnTo>
                  <a:lnTo>
                    <a:pt x="2677" y="486"/>
                  </a:lnTo>
                  <a:lnTo>
                    <a:pt x="2673" y="518"/>
                  </a:lnTo>
                  <a:lnTo>
                    <a:pt x="2663" y="550"/>
                  </a:lnTo>
                  <a:lnTo>
                    <a:pt x="2647" y="584"/>
                  </a:lnTo>
                  <a:lnTo>
                    <a:pt x="2623" y="618"/>
                  </a:lnTo>
                  <a:lnTo>
                    <a:pt x="2591" y="653"/>
                  </a:lnTo>
                  <a:lnTo>
                    <a:pt x="2573" y="669"/>
                  </a:lnTo>
                  <a:lnTo>
                    <a:pt x="2550" y="688"/>
                  </a:lnTo>
                  <a:lnTo>
                    <a:pt x="2523" y="708"/>
                  </a:lnTo>
                  <a:lnTo>
                    <a:pt x="2491" y="730"/>
                  </a:lnTo>
                  <a:lnTo>
                    <a:pt x="2455" y="755"/>
                  </a:lnTo>
                  <a:lnTo>
                    <a:pt x="2416" y="781"/>
                  </a:lnTo>
                  <a:lnTo>
                    <a:pt x="2374" y="809"/>
                  </a:lnTo>
                  <a:lnTo>
                    <a:pt x="2329" y="836"/>
                  </a:lnTo>
                  <a:lnTo>
                    <a:pt x="2282" y="865"/>
                  </a:lnTo>
                  <a:lnTo>
                    <a:pt x="2234" y="894"/>
                  </a:lnTo>
                  <a:lnTo>
                    <a:pt x="2185" y="923"/>
                  </a:lnTo>
                  <a:lnTo>
                    <a:pt x="2134" y="951"/>
                  </a:lnTo>
                  <a:lnTo>
                    <a:pt x="2083" y="979"/>
                  </a:lnTo>
                  <a:lnTo>
                    <a:pt x="2033" y="1007"/>
                  </a:lnTo>
                  <a:lnTo>
                    <a:pt x="1982" y="1034"/>
                  </a:lnTo>
                  <a:lnTo>
                    <a:pt x="1934" y="1059"/>
                  </a:lnTo>
                  <a:lnTo>
                    <a:pt x="1886" y="1082"/>
                  </a:lnTo>
                  <a:lnTo>
                    <a:pt x="1840" y="1103"/>
                  </a:lnTo>
                  <a:lnTo>
                    <a:pt x="1796" y="1124"/>
                  </a:lnTo>
                  <a:lnTo>
                    <a:pt x="1756" y="1140"/>
                  </a:lnTo>
                  <a:lnTo>
                    <a:pt x="1718" y="1155"/>
                  </a:lnTo>
                  <a:lnTo>
                    <a:pt x="1684" y="1166"/>
                  </a:lnTo>
                  <a:lnTo>
                    <a:pt x="1654" y="1174"/>
                  </a:lnTo>
                  <a:lnTo>
                    <a:pt x="1634" y="1177"/>
                  </a:lnTo>
                  <a:lnTo>
                    <a:pt x="1608" y="1179"/>
                  </a:lnTo>
                  <a:lnTo>
                    <a:pt x="1576" y="1179"/>
                  </a:lnTo>
                  <a:lnTo>
                    <a:pt x="1537" y="1176"/>
                  </a:lnTo>
                  <a:lnTo>
                    <a:pt x="1495" y="1173"/>
                  </a:lnTo>
                  <a:lnTo>
                    <a:pt x="1447" y="1168"/>
                  </a:lnTo>
                  <a:lnTo>
                    <a:pt x="1395" y="1163"/>
                  </a:lnTo>
                  <a:lnTo>
                    <a:pt x="1340" y="1156"/>
                  </a:lnTo>
                  <a:lnTo>
                    <a:pt x="1282" y="1149"/>
                  </a:lnTo>
                  <a:lnTo>
                    <a:pt x="1222" y="1140"/>
                  </a:lnTo>
                  <a:lnTo>
                    <a:pt x="1159" y="1132"/>
                  </a:lnTo>
                  <a:lnTo>
                    <a:pt x="1094" y="1123"/>
                  </a:lnTo>
                  <a:lnTo>
                    <a:pt x="1029" y="1112"/>
                  </a:lnTo>
                  <a:lnTo>
                    <a:pt x="964" y="1102"/>
                  </a:lnTo>
                  <a:lnTo>
                    <a:pt x="898" y="1091"/>
                  </a:lnTo>
                  <a:lnTo>
                    <a:pt x="833" y="1081"/>
                  </a:lnTo>
                  <a:lnTo>
                    <a:pt x="769" y="1070"/>
                  </a:lnTo>
                  <a:lnTo>
                    <a:pt x="708" y="1059"/>
                  </a:lnTo>
                  <a:lnTo>
                    <a:pt x="647" y="1049"/>
                  </a:lnTo>
                  <a:lnTo>
                    <a:pt x="590" y="1039"/>
                  </a:lnTo>
                  <a:lnTo>
                    <a:pt x="536" y="1028"/>
                  </a:lnTo>
                  <a:lnTo>
                    <a:pt x="486" y="1019"/>
                  </a:lnTo>
                  <a:lnTo>
                    <a:pt x="440" y="1011"/>
                  </a:lnTo>
                  <a:lnTo>
                    <a:pt x="398" y="1003"/>
                  </a:lnTo>
                  <a:lnTo>
                    <a:pt x="363" y="996"/>
                  </a:lnTo>
                  <a:lnTo>
                    <a:pt x="332" y="990"/>
                  </a:lnTo>
                  <a:lnTo>
                    <a:pt x="309" y="986"/>
                  </a:lnTo>
                  <a:lnTo>
                    <a:pt x="292" y="981"/>
                  </a:lnTo>
                  <a:lnTo>
                    <a:pt x="262" y="978"/>
                  </a:lnTo>
                  <a:lnTo>
                    <a:pt x="230" y="981"/>
                  </a:lnTo>
                  <a:lnTo>
                    <a:pt x="200" y="989"/>
                  </a:lnTo>
                  <a:lnTo>
                    <a:pt x="171" y="1002"/>
                  </a:lnTo>
                  <a:lnTo>
                    <a:pt x="142" y="1017"/>
                  </a:lnTo>
                  <a:lnTo>
                    <a:pt x="114" y="1035"/>
                  </a:lnTo>
                  <a:lnTo>
                    <a:pt x="87" y="1054"/>
                  </a:lnTo>
                  <a:lnTo>
                    <a:pt x="64" y="1074"/>
                  </a:lnTo>
                  <a:lnTo>
                    <a:pt x="49" y="1084"/>
                  </a:lnTo>
                  <a:lnTo>
                    <a:pt x="37" y="1090"/>
                  </a:lnTo>
                  <a:lnTo>
                    <a:pt x="28" y="1091"/>
                  </a:lnTo>
                  <a:lnTo>
                    <a:pt x="20" y="1089"/>
                  </a:lnTo>
                  <a:lnTo>
                    <a:pt x="13" y="1084"/>
                  </a:lnTo>
                  <a:lnTo>
                    <a:pt x="9" y="1079"/>
                  </a:lnTo>
                  <a:lnTo>
                    <a:pt x="5" y="1071"/>
                  </a:lnTo>
                  <a:lnTo>
                    <a:pt x="2" y="1064"/>
                  </a:lnTo>
                  <a:lnTo>
                    <a:pt x="1" y="1058"/>
                  </a:lnTo>
                  <a:lnTo>
                    <a:pt x="1" y="1052"/>
                  </a:lnTo>
                  <a:lnTo>
                    <a:pt x="0" y="1050"/>
                  </a:lnTo>
                  <a:lnTo>
                    <a:pt x="4" y="990"/>
                  </a:lnTo>
                  <a:lnTo>
                    <a:pt x="9" y="924"/>
                  </a:lnTo>
                  <a:lnTo>
                    <a:pt x="13" y="854"/>
                  </a:lnTo>
                  <a:lnTo>
                    <a:pt x="18" y="777"/>
                  </a:lnTo>
                  <a:lnTo>
                    <a:pt x="23" y="700"/>
                  </a:lnTo>
                  <a:lnTo>
                    <a:pt x="28" y="621"/>
                  </a:lnTo>
                  <a:lnTo>
                    <a:pt x="33" y="540"/>
                  </a:lnTo>
                  <a:lnTo>
                    <a:pt x="38" y="462"/>
                  </a:lnTo>
                  <a:lnTo>
                    <a:pt x="43" y="384"/>
                  </a:lnTo>
                  <a:lnTo>
                    <a:pt x="48" y="311"/>
                  </a:lnTo>
                  <a:lnTo>
                    <a:pt x="52" y="242"/>
                  </a:lnTo>
                  <a:lnTo>
                    <a:pt x="56" y="179"/>
                  </a:lnTo>
                  <a:lnTo>
                    <a:pt x="60" y="123"/>
                  </a:lnTo>
                  <a:lnTo>
                    <a:pt x="62" y="108"/>
                  </a:lnTo>
                  <a:lnTo>
                    <a:pt x="67" y="95"/>
                  </a:lnTo>
                  <a:lnTo>
                    <a:pt x="75" y="86"/>
                  </a:lnTo>
                  <a:lnTo>
                    <a:pt x="85" y="81"/>
                  </a:lnTo>
                  <a:lnTo>
                    <a:pt x="97" y="76"/>
                  </a:lnTo>
                  <a:lnTo>
                    <a:pt x="111" y="73"/>
                  </a:lnTo>
                  <a:lnTo>
                    <a:pt x="127" y="71"/>
                  </a:lnTo>
                  <a:lnTo>
                    <a:pt x="145" y="67"/>
                  </a:lnTo>
                  <a:lnTo>
                    <a:pt x="182" y="62"/>
                  </a:lnTo>
                  <a:lnTo>
                    <a:pt x="224" y="55"/>
                  </a:lnTo>
                  <a:lnTo>
                    <a:pt x="269" y="48"/>
                  </a:lnTo>
                  <a:lnTo>
                    <a:pt x="317" y="40"/>
                  </a:lnTo>
                  <a:lnTo>
                    <a:pt x="366" y="34"/>
                  </a:lnTo>
                  <a:lnTo>
                    <a:pt x="417" y="27"/>
                  </a:lnTo>
                  <a:lnTo>
                    <a:pt x="468" y="20"/>
                  </a:lnTo>
                  <a:lnTo>
                    <a:pt x="518" y="15"/>
                  </a:lnTo>
                  <a:lnTo>
                    <a:pt x="566" y="9"/>
                  </a:lnTo>
                  <a:lnTo>
                    <a:pt x="611" y="4"/>
                  </a:lnTo>
                  <a:lnTo>
                    <a:pt x="653" y="2"/>
                  </a:lnTo>
                  <a:lnTo>
                    <a:pt x="691" y="0"/>
                  </a:lnTo>
                  <a:lnTo>
                    <a:pt x="72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noFill/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42" name="Freeform 62"/>
            <p:cNvSpPr>
              <a:spLocks noEditPoints="1"/>
            </p:cNvSpPr>
            <p:nvPr/>
          </p:nvSpPr>
          <p:spPr bwMode="auto">
            <a:xfrm>
              <a:off x="908050" y="2103727"/>
              <a:ext cx="230007" cy="296478"/>
            </a:xfrm>
            <a:custGeom>
              <a:avLst/>
              <a:gdLst>
                <a:gd name="T0" fmla="*/ 2147483647 w 849"/>
                <a:gd name="T1" fmla="*/ 2147483647 h 1095"/>
                <a:gd name="T2" fmla="*/ 2147483647 w 849"/>
                <a:gd name="T3" fmla="*/ 2147483647 h 1095"/>
                <a:gd name="T4" fmla="*/ 2147483647 w 849"/>
                <a:gd name="T5" fmla="*/ 2147483647 h 1095"/>
                <a:gd name="T6" fmla="*/ 2147483647 w 849"/>
                <a:gd name="T7" fmla="*/ 2147483647 h 1095"/>
                <a:gd name="T8" fmla="*/ 2147483647 w 849"/>
                <a:gd name="T9" fmla="*/ 2147483647 h 1095"/>
                <a:gd name="T10" fmla="*/ 2147483647 w 849"/>
                <a:gd name="T11" fmla="*/ 2147483647 h 1095"/>
                <a:gd name="T12" fmla="*/ 2147483647 w 849"/>
                <a:gd name="T13" fmla="*/ 2147483647 h 1095"/>
                <a:gd name="T14" fmla="*/ 2147483647 w 849"/>
                <a:gd name="T15" fmla="*/ 2147483647 h 1095"/>
                <a:gd name="T16" fmla="*/ 2147483647 w 849"/>
                <a:gd name="T17" fmla="*/ 2147483647 h 1095"/>
                <a:gd name="T18" fmla="*/ 2147483647 w 849"/>
                <a:gd name="T19" fmla="*/ 2147483647 h 1095"/>
                <a:gd name="T20" fmla="*/ 2147483647 w 849"/>
                <a:gd name="T21" fmla="*/ 2147483647 h 1095"/>
                <a:gd name="T22" fmla="*/ 2147483647 w 849"/>
                <a:gd name="T23" fmla="*/ 2147483647 h 1095"/>
                <a:gd name="T24" fmla="*/ 2147483647 w 849"/>
                <a:gd name="T25" fmla="*/ 2147483647 h 1095"/>
                <a:gd name="T26" fmla="*/ 2147483647 w 849"/>
                <a:gd name="T27" fmla="*/ 2147483647 h 1095"/>
                <a:gd name="T28" fmla="*/ 2147483647 w 849"/>
                <a:gd name="T29" fmla="*/ 2147483647 h 1095"/>
                <a:gd name="T30" fmla="*/ 2147483647 w 849"/>
                <a:gd name="T31" fmla="*/ 2147483647 h 1095"/>
                <a:gd name="T32" fmla="*/ 2147483647 w 849"/>
                <a:gd name="T33" fmla="*/ 2147483647 h 1095"/>
                <a:gd name="T34" fmla="*/ 2147483647 w 849"/>
                <a:gd name="T35" fmla="*/ 2147483647 h 1095"/>
                <a:gd name="T36" fmla="*/ 2147483647 w 849"/>
                <a:gd name="T37" fmla="*/ 2147483647 h 1095"/>
                <a:gd name="T38" fmla="*/ 2147483647 w 849"/>
                <a:gd name="T39" fmla="*/ 2147483647 h 1095"/>
                <a:gd name="T40" fmla="*/ 2147483647 w 849"/>
                <a:gd name="T41" fmla="*/ 2147483647 h 1095"/>
                <a:gd name="T42" fmla="*/ 2147483647 w 849"/>
                <a:gd name="T43" fmla="*/ 2147483647 h 1095"/>
                <a:gd name="T44" fmla="*/ 2147483647 w 849"/>
                <a:gd name="T45" fmla="*/ 2147483647 h 1095"/>
                <a:gd name="T46" fmla="*/ 2147483647 w 849"/>
                <a:gd name="T47" fmla="*/ 2147483647 h 1095"/>
                <a:gd name="T48" fmla="*/ 2147483647 w 849"/>
                <a:gd name="T49" fmla="*/ 2147483647 h 1095"/>
                <a:gd name="T50" fmla="*/ 2147483647 w 849"/>
                <a:gd name="T51" fmla="*/ 2147483647 h 1095"/>
                <a:gd name="T52" fmla="*/ 2147483647 w 849"/>
                <a:gd name="T53" fmla="*/ 2147483647 h 1095"/>
                <a:gd name="T54" fmla="*/ 2147483647 w 849"/>
                <a:gd name="T55" fmla="*/ 2147483647 h 1095"/>
                <a:gd name="T56" fmla="*/ 2147483647 w 849"/>
                <a:gd name="T57" fmla="*/ 2147483647 h 1095"/>
                <a:gd name="T58" fmla="*/ 2147483647 w 849"/>
                <a:gd name="T59" fmla="*/ 2147483647 h 1095"/>
                <a:gd name="T60" fmla="*/ 2147483647 w 849"/>
                <a:gd name="T61" fmla="*/ 2147483647 h 1095"/>
                <a:gd name="T62" fmla="*/ 2147483647 w 849"/>
                <a:gd name="T63" fmla="*/ 2147483647 h 1095"/>
                <a:gd name="T64" fmla="*/ 2147483647 w 849"/>
                <a:gd name="T65" fmla="*/ 2147483647 h 1095"/>
                <a:gd name="T66" fmla="*/ 2147483647 w 849"/>
                <a:gd name="T67" fmla="*/ 0 h 1095"/>
                <a:gd name="T68" fmla="*/ 2147483647 w 849"/>
                <a:gd name="T69" fmla="*/ 2147483647 h 1095"/>
                <a:gd name="T70" fmla="*/ 2147483647 w 849"/>
                <a:gd name="T71" fmla="*/ 2147483647 h 1095"/>
                <a:gd name="T72" fmla="*/ 2147483647 w 849"/>
                <a:gd name="T73" fmla="*/ 2147483647 h 1095"/>
                <a:gd name="T74" fmla="*/ 2147483647 w 849"/>
                <a:gd name="T75" fmla="*/ 2147483647 h 1095"/>
                <a:gd name="T76" fmla="*/ 2147483647 w 849"/>
                <a:gd name="T77" fmla="*/ 2147483647 h 1095"/>
                <a:gd name="T78" fmla="*/ 2147483647 w 849"/>
                <a:gd name="T79" fmla="*/ 2147483647 h 1095"/>
                <a:gd name="T80" fmla="*/ 2147483647 w 849"/>
                <a:gd name="T81" fmla="*/ 2147483647 h 1095"/>
                <a:gd name="T82" fmla="*/ 2147483647 w 849"/>
                <a:gd name="T83" fmla="*/ 2147483647 h 1095"/>
                <a:gd name="T84" fmla="*/ 2147483647 w 849"/>
                <a:gd name="T85" fmla="*/ 2147483647 h 1095"/>
                <a:gd name="T86" fmla="*/ 2147483647 w 849"/>
                <a:gd name="T87" fmla="*/ 2147483647 h 1095"/>
                <a:gd name="T88" fmla="*/ 2147483647 w 849"/>
                <a:gd name="T89" fmla="*/ 2147483647 h 1095"/>
                <a:gd name="T90" fmla="*/ 2147483647 w 849"/>
                <a:gd name="T91" fmla="*/ 2147483647 h 1095"/>
                <a:gd name="T92" fmla="*/ 2147483647 w 849"/>
                <a:gd name="T93" fmla="*/ 2147483647 h 1095"/>
                <a:gd name="T94" fmla="*/ 2147483647 w 849"/>
                <a:gd name="T95" fmla="*/ 2147483647 h 1095"/>
                <a:gd name="T96" fmla="*/ 2147483647 w 849"/>
                <a:gd name="T97" fmla="*/ 2147483647 h 1095"/>
                <a:gd name="T98" fmla="*/ 2147483647 w 849"/>
                <a:gd name="T99" fmla="*/ 2147483647 h 1095"/>
                <a:gd name="T100" fmla="*/ 2147483647 w 849"/>
                <a:gd name="T101" fmla="*/ 2147483647 h 1095"/>
                <a:gd name="T102" fmla="*/ 2147483647 w 849"/>
                <a:gd name="T103" fmla="*/ 2147483647 h 1095"/>
                <a:gd name="T104" fmla="*/ 2147483647 w 849"/>
                <a:gd name="T105" fmla="*/ 2147483647 h 1095"/>
                <a:gd name="T106" fmla="*/ 0 w 849"/>
                <a:gd name="T107" fmla="*/ 2147483647 h 1095"/>
                <a:gd name="T108" fmla="*/ 2147483647 w 849"/>
                <a:gd name="T109" fmla="*/ 2147483647 h 1095"/>
                <a:gd name="T110" fmla="*/ 2147483647 w 849"/>
                <a:gd name="T111" fmla="*/ 2147483647 h 1095"/>
                <a:gd name="T112" fmla="*/ 2147483647 w 849"/>
                <a:gd name="T113" fmla="*/ 2147483647 h 1095"/>
                <a:gd name="T114" fmla="*/ 2147483647 w 849"/>
                <a:gd name="T115" fmla="*/ 2147483647 h 1095"/>
                <a:gd name="T116" fmla="*/ 2147483647 w 849"/>
                <a:gd name="T117" fmla="*/ 2147483647 h 1095"/>
                <a:gd name="T118" fmla="*/ 2147483647 w 849"/>
                <a:gd name="T119" fmla="*/ 2147483647 h 1095"/>
                <a:gd name="T120" fmla="*/ 2147483647 w 849"/>
                <a:gd name="T121" fmla="*/ 2147483647 h 1095"/>
                <a:gd name="T122" fmla="*/ 2147483647 w 849"/>
                <a:gd name="T123" fmla="*/ 0 h 109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849"/>
                <a:gd name="T187" fmla="*/ 0 h 1095"/>
                <a:gd name="T188" fmla="*/ 849 w 849"/>
                <a:gd name="T189" fmla="*/ 1095 h 109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849" h="1095">
                  <a:moveTo>
                    <a:pt x="440" y="656"/>
                  </a:moveTo>
                  <a:lnTo>
                    <a:pt x="408" y="659"/>
                  </a:lnTo>
                  <a:lnTo>
                    <a:pt x="379" y="668"/>
                  </a:lnTo>
                  <a:lnTo>
                    <a:pt x="352" y="683"/>
                  </a:lnTo>
                  <a:lnTo>
                    <a:pt x="328" y="702"/>
                  </a:lnTo>
                  <a:lnTo>
                    <a:pt x="309" y="725"/>
                  </a:lnTo>
                  <a:lnTo>
                    <a:pt x="295" y="751"/>
                  </a:lnTo>
                  <a:lnTo>
                    <a:pt x="286" y="781"/>
                  </a:lnTo>
                  <a:lnTo>
                    <a:pt x="282" y="812"/>
                  </a:lnTo>
                  <a:lnTo>
                    <a:pt x="286" y="844"/>
                  </a:lnTo>
                  <a:lnTo>
                    <a:pt x="295" y="874"/>
                  </a:lnTo>
                  <a:lnTo>
                    <a:pt x="309" y="901"/>
                  </a:lnTo>
                  <a:lnTo>
                    <a:pt x="328" y="924"/>
                  </a:lnTo>
                  <a:lnTo>
                    <a:pt x="352" y="944"/>
                  </a:lnTo>
                  <a:lnTo>
                    <a:pt x="379" y="958"/>
                  </a:lnTo>
                  <a:lnTo>
                    <a:pt x="408" y="967"/>
                  </a:lnTo>
                  <a:lnTo>
                    <a:pt x="440" y="970"/>
                  </a:lnTo>
                  <a:lnTo>
                    <a:pt x="472" y="967"/>
                  </a:lnTo>
                  <a:lnTo>
                    <a:pt x="501" y="958"/>
                  </a:lnTo>
                  <a:lnTo>
                    <a:pt x="528" y="944"/>
                  </a:lnTo>
                  <a:lnTo>
                    <a:pt x="551" y="924"/>
                  </a:lnTo>
                  <a:lnTo>
                    <a:pt x="570" y="901"/>
                  </a:lnTo>
                  <a:lnTo>
                    <a:pt x="585" y="874"/>
                  </a:lnTo>
                  <a:lnTo>
                    <a:pt x="594" y="844"/>
                  </a:lnTo>
                  <a:lnTo>
                    <a:pt x="597" y="812"/>
                  </a:lnTo>
                  <a:lnTo>
                    <a:pt x="594" y="781"/>
                  </a:lnTo>
                  <a:lnTo>
                    <a:pt x="585" y="751"/>
                  </a:lnTo>
                  <a:lnTo>
                    <a:pt x="570" y="725"/>
                  </a:lnTo>
                  <a:lnTo>
                    <a:pt x="551" y="702"/>
                  </a:lnTo>
                  <a:lnTo>
                    <a:pt x="528" y="683"/>
                  </a:lnTo>
                  <a:lnTo>
                    <a:pt x="501" y="668"/>
                  </a:lnTo>
                  <a:lnTo>
                    <a:pt x="472" y="659"/>
                  </a:lnTo>
                  <a:lnTo>
                    <a:pt x="440" y="656"/>
                  </a:lnTo>
                  <a:close/>
                  <a:moveTo>
                    <a:pt x="206" y="0"/>
                  </a:moveTo>
                  <a:lnTo>
                    <a:pt x="775" y="28"/>
                  </a:lnTo>
                  <a:lnTo>
                    <a:pt x="796" y="33"/>
                  </a:lnTo>
                  <a:lnTo>
                    <a:pt x="814" y="42"/>
                  </a:lnTo>
                  <a:lnTo>
                    <a:pt x="830" y="55"/>
                  </a:lnTo>
                  <a:lnTo>
                    <a:pt x="841" y="72"/>
                  </a:lnTo>
                  <a:lnTo>
                    <a:pt x="848" y="91"/>
                  </a:lnTo>
                  <a:lnTo>
                    <a:pt x="849" y="112"/>
                  </a:lnTo>
                  <a:lnTo>
                    <a:pt x="780" y="1017"/>
                  </a:lnTo>
                  <a:lnTo>
                    <a:pt x="775" y="1039"/>
                  </a:lnTo>
                  <a:lnTo>
                    <a:pt x="765" y="1058"/>
                  </a:lnTo>
                  <a:lnTo>
                    <a:pt x="752" y="1073"/>
                  </a:lnTo>
                  <a:lnTo>
                    <a:pt x="735" y="1085"/>
                  </a:lnTo>
                  <a:lnTo>
                    <a:pt x="715" y="1093"/>
                  </a:lnTo>
                  <a:lnTo>
                    <a:pt x="693" y="1095"/>
                  </a:lnTo>
                  <a:lnTo>
                    <a:pt x="63" y="1095"/>
                  </a:lnTo>
                  <a:lnTo>
                    <a:pt x="43" y="1091"/>
                  </a:lnTo>
                  <a:lnTo>
                    <a:pt x="25" y="1082"/>
                  </a:lnTo>
                  <a:lnTo>
                    <a:pt x="12" y="1070"/>
                  </a:lnTo>
                  <a:lnTo>
                    <a:pt x="3" y="1053"/>
                  </a:lnTo>
                  <a:lnTo>
                    <a:pt x="0" y="1034"/>
                  </a:lnTo>
                  <a:lnTo>
                    <a:pt x="2" y="1014"/>
                  </a:lnTo>
                  <a:lnTo>
                    <a:pt x="106" y="74"/>
                  </a:lnTo>
                  <a:lnTo>
                    <a:pt x="114" y="54"/>
                  </a:lnTo>
                  <a:lnTo>
                    <a:pt x="127" y="36"/>
                  </a:lnTo>
                  <a:lnTo>
                    <a:pt x="143" y="20"/>
                  </a:lnTo>
                  <a:lnTo>
                    <a:pt x="162" y="9"/>
                  </a:lnTo>
                  <a:lnTo>
                    <a:pt x="184" y="2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noFill/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243" name="Group 67"/>
            <p:cNvGrpSpPr>
              <a:grpSpLocks/>
            </p:cNvGrpSpPr>
            <p:nvPr/>
          </p:nvGrpSpPr>
          <p:grpSpPr bwMode="auto">
            <a:xfrm>
              <a:off x="1496616" y="1485901"/>
              <a:ext cx="512089" cy="532437"/>
              <a:chOff x="1137906" y="1563186"/>
              <a:chExt cx="718750" cy="748214"/>
            </a:xfrm>
          </p:grpSpPr>
          <p:grpSp>
            <p:nvGrpSpPr>
              <p:cNvPr id="244" name="Group 57"/>
              <p:cNvGrpSpPr>
                <a:grpSpLocks/>
              </p:cNvGrpSpPr>
              <p:nvPr/>
            </p:nvGrpSpPr>
            <p:grpSpPr bwMode="auto">
              <a:xfrm>
                <a:off x="1352600" y="1765725"/>
                <a:ext cx="504056" cy="349376"/>
                <a:chOff x="1587342" y="1903589"/>
                <a:chExt cx="306542" cy="212473"/>
              </a:xfrm>
            </p:grpSpPr>
            <p:sp>
              <p:nvSpPr>
                <p:cNvPr id="246" name="Freeform 10"/>
                <p:cNvSpPr>
                  <a:spLocks noEditPoints="1"/>
                </p:cNvSpPr>
                <p:nvPr/>
              </p:nvSpPr>
              <p:spPr bwMode="auto">
                <a:xfrm>
                  <a:off x="1587342" y="1978198"/>
                  <a:ext cx="306542" cy="137864"/>
                </a:xfrm>
                <a:custGeom>
                  <a:avLst/>
                  <a:gdLst>
                    <a:gd name="T0" fmla="*/ 0 w 822"/>
                    <a:gd name="T1" fmla="*/ 2147483647 h 375"/>
                    <a:gd name="T2" fmla="*/ 2147483647 w 822"/>
                    <a:gd name="T3" fmla="*/ 2147483647 h 375"/>
                    <a:gd name="T4" fmla="*/ 2147483647 w 822"/>
                    <a:gd name="T5" fmla="*/ 2147483647 h 375"/>
                    <a:gd name="T6" fmla="*/ 2147483647 w 822"/>
                    <a:gd name="T7" fmla="*/ 2147483647 h 375"/>
                    <a:gd name="T8" fmla="*/ 2147483647 w 822"/>
                    <a:gd name="T9" fmla="*/ 0 h 375"/>
                    <a:gd name="T10" fmla="*/ 0 w 822"/>
                    <a:gd name="T11" fmla="*/ 0 h 375"/>
                    <a:gd name="T12" fmla="*/ 0 w 822"/>
                    <a:gd name="T13" fmla="*/ 2147483647 h 375"/>
                    <a:gd name="T14" fmla="*/ 2147483647 w 822"/>
                    <a:gd name="T15" fmla="*/ 2147483647 h 375"/>
                    <a:gd name="T16" fmla="*/ 2147483647 w 822"/>
                    <a:gd name="T17" fmla="*/ 2147483647 h 375"/>
                    <a:gd name="T18" fmla="*/ 2147483647 w 822"/>
                    <a:gd name="T19" fmla="*/ 2147483647 h 375"/>
                    <a:gd name="T20" fmla="*/ 2147483647 w 822"/>
                    <a:gd name="T21" fmla="*/ 2147483647 h 375"/>
                    <a:gd name="T22" fmla="*/ 2147483647 w 822"/>
                    <a:gd name="T23" fmla="*/ 2147483647 h 375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822"/>
                    <a:gd name="T37" fmla="*/ 0 h 375"/>
                    <a:gd name="T38" fmla="*/ 822 w 822"/>
                    <a:gd name="T39" fmla="*/ 375 h 375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822" h="375">
                      <a:moveTo>
                        <a:pt x="0" y="354"/>
                      </a:moveTo>
                      <a:cubicBezTo>
                        <a:pt x="0" y="366"/>
                        <a:pt x="9" y="375"/>
                        <a:pt x="21" y="375"/>
                      </a:cubicBezTo>
                      <a:lnTo>
                        <a:pt x="800" y="375"/>
                      </a:lnTo>
                      <a:cubicBezTo>
                        <a:pt x="812" y="375"/>
                        <a:pt x="822" y="366"/>
                        <a:pt x="822" y="354"/>
                      </a:cubicBezTo>
                      <a:lnTo>
                        <a:pt x="822" y="0"/>
                      </a:lnTo>
                      <a:lnTo>
                        <a:pt x="0" y="0"/>
                      </a:lnTo>
                      <a:lnTo>
                        <a:pt x="0" y="354"/>
                      </a:lnTo>
                      <a:close/>
                      <a:moveTo>
                        <a:pt x="473" y="186"/>
                      </a:moveTo>
                      <a:lnTo>
                        <a:pt x="733" y="186"/>
                      </a:lnTo>
                      <a:lnTo>
                        <a:pt x="733" y="255"/>
                      </a:lnTo>
                      <a:lnTo>
                        <a:pt x="473" y="255"/>
                      </a:lnTo>
                      <a:lnTo>
                        <a:pt x="473" y="18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  <a:headEnd/>
                  <a:tailEnd/>
                </a:ln>
                <a:extLst>
                  <a:ext uri="{91240B29-F687-4F45-9708-019B960494DF}">
                    <a14:hiddenLine xmlns:a14="http://schemas.microsoft.com/office/drawing/2010/main" w="0">
                      <a:noFill/>
                      <a:prstDash val="solid"/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 sz="1950" dirty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7" name="Freeform 11"/>
                <p:cNvSpPr>
                  <a:spLocks/>
                </p:cNvSpPr>
                <p:nvPr/>
              </p:nvSpPr>
              <p:spPr bwMode="auto">
                <a:xfrm>
                  <a:off x="1587342" y="1903589"/>
                  <a:ext cx="306542" cy="45414"/>
                </a:xfrm>
                <a:custGeom>
                  <a:avLst/>
                  <a:gdLst>
                    <a:gd name="T0" fmla="*/ 2147483647 w 822"/>
                    <a:gd name="T1" fmla="*/ 0 h 121"/>
                    <a:gd name="T2" fmla="*/ 2147483647 w 822"/>
                    <a:gd name="T3" fmla="*/ 0 h 121"/>
                    <a:gd name="T4" fmla="*/ 0 w 822"/>
                    <a:gd name="T5" fmla="*/ 2147483647 h 121"/>
                    <a:gd name="T6" fmla="*/ 0 w 822"/>
                    <a:gd name="T7" fmla="*/ 2147483647 h 121"/>
                    <a:gd name="T8" fmla="*/ 2147483647 w 822"/>
                    <a:gd name="T9" fmla="*/ 2147483647 h 121"/>
                    <a:gd name="T10" fmla="*/ 2147483647 w 822"/>
                    <a:gd name="T11" fmla="*/ 2147483647 h 121"/>
                    <a:gd name="T12" fmla="*/ 2147483647 w 822"/>
                    <a:gd name="T13" fmla="*/ 0 h 12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22"/>
                    <a:gd name="T22" fmla="*/ 0 h 121"/>
                    <a:gd name="T23" fmla="*/ 822 w 822"/>
                    <a:gd name="T24" fmla="*/ 121 h 12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22" h="121">
                      <a:moveTo>
                        <a:pt x="800" y="0"/>
                      </a:moveTo>
                      <a:lnTo>
                        <a:pt x="21" y="0"/>
                      </a:lnTo>
                      <a:cubicBezTo>
                        <a:pt x="9" y="0"/>
                        <a:pt x="0" y="10"/>
                        <a:pt x="0" y="22"/>
                      </a:cubicBezTo>
                      <a:lnTo>
                        <a:pt x="0" y="121"/>
                      </a:lnTo>
                      <a:lnTo>
                        <a:pt x="822" y="121"/>
                      </a:lnTo>
                      <a:lnTo>
                        <a:pt x="822" y="22"/>
                      </a:lnTo>
                      <a:cubicBezTo>
                        <a:pt x="822" y="10"/>
                        <a:pt x="812" y="0"/>
                        <a:pt x="80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  <a:headEnd/>
                  <a:tailEnd/>
                </a:ln>
                <a:extLst>
                  <a:ext uri="{91240B29-F687-4F45-9708-019B960494DF}">
                    <a14:hiddenLine xmlns:a14="http://schemas.microsoft.com/office/drawing/2010/main" w="0">
                      <a:noFill/>
                      <a:prstDash val="solid"/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 sz="1950" dirty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245" name="Freeform 6"/>
              <p:cNvSpPr>
                <a:spLocks noEditPoints="1"/>
              </p:cNvSpPr>
              <p:nvPr/>
            </p:nvSpPr>
            <p:spPr bwMode="auto">
              <a:xfrm>
                <a:off x="1137906" y="1563186"/>
                <a:ext cx="457541" cy="748214"/>
              </a:xfrm>
              <a:custGeom>
                <a:avLst/>
                <a:gdLst>
                  <a:gd name="T0" fmla="*/ 2147483647 w 2045"/>
                  <a:gd name="T1" fmla="*/ 2147483647 h 3336"/>
                  <a:gd name="T2" fmla="*/ 2147483647 w 2045"/>
                  <a:gd name="T3" fmla="*/ 2147483647 h 3336"/>
                  <a:gd name="T4" fmla="*/ 2147483647 w 2045"/>
                  <a:gd name="T5" fmla="*/ 2147483647 h 3336"/>
                  <a:gd name="T6" fmla="*/ 2147483647 w 2045"/>
                  <a:gd name="T7" fmla="*/ 2147483647 h 3336"/>
                  <a:gd name="T8" fmla="*/ 2147483647 w 2045"/>
                  <a:gd name="T9" fmla="*/ 2147483647 h 3336"/>
                  <a:gd name="T10" fmla="*/ 2147483647 w 2045"/>
                  <a:gd name="T11" fmla="*/ 2147483647 h 3336"/>
                  <a:gd name="T12" fmla="*/ 2147483647 w 2045"/>
                  <a:gd name="T13" fmla="*/ 2147483647 h 3336"/>
                  <a:gd name="T14" fmla="*/ 2147483647 w 2045"/>
                  <a:gd name="T15" fmla="*/ 2147483647 h 3336"/>
                  <a:gd name="T16" fmla="*/ 2147483647 w 2045"/>
                  <a:gd name="T17" fmla="*/ 2147483647 h 3336"/>
                  <a:gd name="T18" fmla="*/ 2147483647 w 2045"/>
                  <a:gd name="T19" fmla="*/ 2147483647 h 3336"/>
                  <a:gd name="T20" fmla="*/ 2147483647 w 2045"/>
                  <a:gd name="T21" fmla="*/ 2147483647 h 3336"/>
                  <a:gd name="T22" fmla="*/ 2147483647 w 2045"/>
                  <a:gd name="T23" fmla="*/ 2147483647 h 3336"/>
                  <a:gd name="T24" fmla="*/ 2147483647 w 2045"/>
                  <a:gd name="T25" fmla="*/ 2147483647 h 3336"/>
                  <a:gd name="T26" fmla="*/ 2147483647 w 2045"/>
                  <a:gd name="T27" fmla="*/ 2147483647 h 3336"/>
                  <a:gd name="T28" fmla="*/ 2147483647 w 2045"/>
                  <a:gd name="T29" fmla="*/ 2147483647 h 3336"/>
                  <a:gd name="T30" fmla="*/ 2147483647 w 2045"/>
                  <a:gd name="T31" fmla="*/ 2147483647 h 3336"/>
                  <a:gd name="T32" fmla="*/ 2147483647 w 2045"/>
                  <a:gd name="T33" fmla="*/ 2147483647 h 3336"/>
                  <a:gd name="T34" fmla="*/ 2147483647 w 2045"/>
                  <a:gd name="T35" fmla="*/ 2147483647 h 3336"/>
                  <a:gd name="T36" fmla="*/ 2147483647 w 2045"/>
                  <a:gd name="T37" fmla="*/ 2147483647 h 3336"/>
                  <a:gd name="T38" fmla="*/ 2147483647 w 2045"/>
                  <a:gd name="T39" fmla="*/ 2147483647 h 3336"/>
                  <a:gd name="T40" fmla="*/ 2147483647 w 2045"/>
                  <a:gd name="T41" fmla="*/ 2147483647 h 3336"/>
                  <a:gd name="T42" fmla="*/ 2147483647 w 2045"/>
                  <a:gd name="T43" fmla="*/ 2147483647 h 3336"/>
                  <a:gd name="T44" fmla="*/ 2147483647 w 2045"/>
                  <a:gd name="T45" fmla="*/ 2147483647 h 3336"/>
                  <a:gd name="T46" fmla="*/ 2147483647 w 2045"/>
                  <a:gd name="T47" fmla="*/ 2147483647 h 3336"/>
                  <a:gd name="T48" fmla="*/ 2147483647 w 2045"/>
                  <a:gd name="T49" fmla="*/ 2147483647 h 3336"/>
                  <a:gd name="T50" fmla="*/ 2147483647 w 2045"/>
                  <a:gd name="T51" fmla="*/ 2147483647 h 3336"/>
                  <a:gd name="T52" fmla="*/ 2147483647 w 2045"/>
                  <a:gd name="T53" fmla="*/ 2147483647 h 3336"/>
                  <a:gd name="T54" fmla="*/ 2147483647 w 2045"/>
                  <a:gd name="T55" fmla="*/ 2147483647 h 3336"/>
                  <a:gd name="T56" fmla="*/ 2147483647 w 2045"/>
                  <a:gd name="T57" fmla="*/ 2147483647 h 3336"/>
                  <a:gd name="T58" fmla="*/ 2147483647 w 2045"/>
                  <a:gd name="T59" fmla="*/ 2147483647 h 3336"/>
                  <a:gd name="T60" fmla="*/ 2147483647 w 2045"/>
                  <a:gd name="T61" fmla="*/ 2147483647 h 3336"/>
                  <a:gd name="T62" fmla="*/ 2147483647 w 2045"/>
                  <a:gd name="T63" fmla="*/ 2147483647 h 3336"/>
                  <a:gd name="T64" fmla="*/ 2147483647 w 2045"/>
                  <a:gd name="T65" fmla="*/ 2147483647 h 3336"/>
                  <a:gd name="T66" fmla="*/ 2147483647 w 2045"/>
                  <a:gd name="T67" fmla="*/ 2147483647 h 3336"/>
                  <a:gd name="T68" fmla="*/ 2147483647 w 2045"/>
                  <a:gd name="T69" fmla="*/ 2147483647 h 3336"/>
                  <a:gd name="T70" fmla="*/ 2147483647 w 2045"/>
                  <a:gd name="T71" fmla="*/ 2147483647 h 3336"/>
                  <a:gd name="T72" fmla="*/ 2147483647 w 2045"/>
                  <a:gd name="T73" fmla="*/ 2147483647 h 3336"/>
                  <a:gd name="T74" fmla="*/ 2147483647 w 2045"/>
                  <a:gd name="T75" fmla="*/ 2147483647 h 3336"/>
                  <a:gd name="T76" fmla="*/ 2147483647 w 2045"/>
                  <a:gd name="T77" fmla="*/ 2147483647 h 3336"/>
                  <a:gd name="T78" fmla="*/ 2147483647 w 2045"/>
                  <a:gd name="T79" fmla="*/ 2147483647 h 3336"/>
                  <a:gd name="T80" fmla="*/ 2147483647 w 2045"/>
                  <a:gd name="T81" fmla="*/ 2147483647 h 3336"/>
                  <a:gd name="T82" fmla="*/ 2147483647 w 2045"/>
                  <a:gd name="T83" fmla="*/ 2147483647 h 3336"/>
                  <a:gd name="T84" fmla="*/ 2147483647 w 2045"/>
                  <a:gd name="T85" fmla="*/ 2147483647 h 3336"/>
                  <a:gd name="T86" fmla="*/ 2147483647 w 2045"/>
                  <a:gd name="T87" fmla="*/ 2147483647 h 3336"/>
                  <a:gd name="T88" fmla="*/ 2147483647 w 2045"/>
                  <a:gd name="T89" fmla="*/ 2147483647 h 3336"/>
                  <a:gd name="T90" fmla="*/ 2147483647 w 2045"/>
                  <a:gd name="T91" fmla="*/ 2147483647 h 3336"/>
                  <a:gd name="T92" fmla="*/ 0 w 2045"/>
                  <a:gd name="T93" fmla="*/ 2147483647 h 3336"/>
                  <a:gd name="T94" fmla="*/ 2147483647 w 2045"/>
                  <a:gd name="T95" fmla="*/ 2147483647 h 3336"/>
                  <a:gd name="T96" fmla="*/ 2147483647 w 2045"/>
                  <a:gd name="T97" fmla="*/ 2147483647 h 3336"/>
                  <a:gd name="T98" fmla="*/ 2147483647 w 2045"/>
                  <a:gd name="T99" fmla="*/ 2147483647 h 33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045"/>
                  <a:gd name="T151" fmla="*/ 0 h 3336"/>
                  <a:gd name="T152" fmla="*/ 2045 w 2045"/>
                  <a:gd name="T153" fmla="*/ 3336 h 33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045" h="3336">
                    <a:moveTo>
                      <a:pt x="1023" y="2893"/>
                    </a:moveTo>
                    <a:lnTo>
                      <a:pt x="992" y="2896"/>
                    </a:lnTo>
                    <a:lnTo>
                      <a:pt x="963" y="2905"/>
                    </a:lnTo>
                    <a:lnTo>
                      <a:pt x="937" y="2919"/>
                    </a:lnTo>
                    <a:lnTo>
                      <a:pt x="915" y="2938"/>
                    </a:lnTo>
                    <a:lnTo>
                      <a:pt x="896" y="2960"/>
                    </a:lnTo>
                    <a:lnTo>
                      <a:pt x="882" y="2986"/>
                    </a:lnTo>
                    <a:lnTo>
                      <a:pt x="874" y="3015"/>
                    </a:lnTo>
                    <a:lnTo>
                      <a:pt x="870" y="3046"/>
                    </a:lnTo>
                    <a:lnTo>
                      <a:pt x="874" y="3077"/>
                    </a:lnTo>
                    <a:lnTo>
                      <a:pt x="882" y="3106"/>
                    </a:lnTo>
                    <a:lnTo>
                      <a:pt x="896" y="3131"/>
                    </a:lnTo>
                    <a:lnTo>
                      <a:pt x="915" y="3155"/>
                    </a:lnTo>
                    <a:lnTo>
                      <a:pt x="937" y="3173"/>
                    </a:lnTo>
                    <a:lnTo>
                      <a:pt x="963" y="3187"/>
                    </a:lnTo>
                    <a:lnTo>
                      <a:pt x="992" y="3196"/>
                    </a:lnTo>
                    <a:lnTo>
                      <a:pt x="1023" y="3199"/>
                    </a:lnTo>
                    <a:lnTo>
                      <a:pt x="1054" y="3196"/>
                    </a:lnTo>
                    <a:lnTo>
                      <a:pt x="1082" y="3187"/>
                    </a:lnTo>
                    <a:lnTo>
                      <a:pt x="1108" y="3173"/>
                    </a:lnTo>
                    <a:lnTo>
                      <a:pt x="1130" y="3154"/>
                    </a:lnTo>
                    <a:lnTo>
                      <a:pt x="1149" y="3131"/>
                    </a:lnTo>
                    <a:lnTo>
                      <a:pt x="1163" y="3106"/>
                    </a:lnTo>
                    <a:lnTo>
                      <a:pt x="1172" y="3077"/>
                    </a:lnTo>
                    <a:lnTo>
                      <a:pt x="1175" y="3046"/>
                    </a:lnTo>
                    <a:lnTo>
                      <a:pt x="1172" y="3015"/>
                    </a:lnTo>
                    <a:lnTo>
                      <a:pt x="1163" y="2986"/>
                    </a:lnTo>
                    <a:lnTo>
                      <a:pt x="1149" y="2960"/>
                    </a:lnTo>
                    <a:lnTo>
                      <a:pt x="1130" y="2938"/>
                    </a:lnTo>
                    <a:lnTo>
                      <a:pt x="1108" y="2919"/>
                    </a:lnTo>
                    <a:lnTo>
                      <a:pt x="1082" y="2905"/>
                    </a:lnTo>
                    <a:lnTo>
                      <a:pt x="1054" y="2896"/>
                    </a:lnTo>
                    <a:lnTo>
                      <a:pt x="1023" y="2893"/>
                    </a:lnTo>
                    <a:close/>
                    <a:moveTo>
                      <a:pt x="895" y="119"/>
                    </a:moveTo>
                    <a:lnTo>
                      <a:pt x="875" y="121"/>
                    </a:lnTo>
                    <a:lnTo>
                      <a:pt x="858" y="127"/>
                    </a:lnTo>
                    <a:lnTo>
                      <a:pt x="843" y="137"/>
                    </a:lnTo>
                    <a:lnTo>
                      <a:pt x="834" y="150"/>
                    </a:lnTo>
                    <a:lnTo>
                      <a:pt x="831" y="164"/>
                    </a:lnTo>
                    <a:lnTo>
                      <a:pt x="834" y="179"/>
                    </a:lnTo>
                    <a:lnTo>
                      <a:pt x="843" y="190"/>
                    </a:lnTo>
                    <a:lnTo>
                      <a:pt x="858" y="200"/>
                    </a:lnTo>
                    <a:lnTo>
                      <a:pt x="875" y="207"/>
                    </a:lnTo>
                    <a:lnTo>
                      <a:pt x="895" y="210"/>
                    </a:lnTo>
                    <a:lnTo>
                      <a:pt x="1150" y="210"/>
                    </a:lnTo>
                    <a:lnTo>
                      <a:pt x="1171" y="207"/>
                    </a:lnTo>
                    <a:lnTo>
                      <a:pt x="1189" y="200"/>
                    </a:lnTo>
                    <a:lnTo>
                      <a:pt x="1203" y="190"/>
                    </a:lnTo>
                    <a:lnTo>
                      <a:pt x="1211" y="179"/>
                    </a:lnTo>
                    <a:lnTo>
                      <a:pt x="1214" y="164"/>
                    </a:lnTo>
                    <a:lnTo>
                      <a:pt x="1211" y="150"/>
                    </a:lnTo>
                    <a:lnTo>
                      <a:pt x="1203" y="137"/>
                    </a:lnTo>
                    <a:lnTo>
                      <a:pt x="1189" y="127"/>
                    </a:lnTo>
                    <a:lnTo>
                      <a:pt x="1171" y="121"/>
                    </a:lnTo>
                    <a:lnTo>
                      <a:pt x="1150" y="119"/>
                    </a:lnTo>
                    <a:lnTo>
                      <a:pt x="895" y="119"/>
                    </a:lnTo>
                    <a:close/>
                    <a:moveTo>
                      <a:pt x="320" y="99"/>
                    </a:moveTo>
                    <a:lnTo>
                      <a:pt x="303" y="102"/>
                    </a:lnTo>
                    <a:lnTo>
                      <a:pt x="288" y="108"/>
                    </a:lnTo>
                    <a:lnTo>
                      <a:pt x="275" y="119"/>
                    </a:lnTo>
                    <a:lnTo>
                      <a:pt x="264" y="132"/>
                    </a:lnTo>
                    <a:lnTo>
                      <a:pt x="258" y="147"/>
                    </a:lnTo>
                    <a:lnTo>
                      <a:pt x="256" y="164"/>
                    </a:lnTo>
                    <a:lnTo>
                      <a:pt x="259" y="184"/>
                    </a:lnTo>
                    <a:lnTo>
                      <a:pt x="268" y="202"/>
                    </a:lnTo>
                    <a:lnTo>
                      <a:pt x="282" y="216"/>
                    </a:lnTo>
                    <a:lnTo>
                      <a:pt x="299" y="225"/>
                    </a:lnTo>
                    <a:lnTo>
                      <a:pt x="320" y="228"/>
                    </a:lnTo>
                    <a:lnTo>
                      <a:pt x="340" y="225"/>
                    </a:lnTo>
                    <a:lnTo>
                      <a:pt x="357" y="216"/>
                    </a:lnTo>
                    <a:lnTo>
                      <a:pt x="371" y="202"/>
                    </a:lnTo>
                    <a:lnTo>
                      <a:pt x="380" y="184"/>
                    </a:lnTo>
                    <a:lnTo>
                      <a:pt x="383" y="164"/>
                    </a:lnTo>
                    <a:lnTo>
                      <a:pt x="380" y="143"/>
                    </a:lnTo>
                    <a:lnTo>
                      <a:pt x="371" y="126"/>
                    </a:lnTo>
                    <a:lnTo>
                      <a:pt x="357" y="112"/>
                    </a:lnTo>
                    <a:lnTo>
                      <a:pt x="340" y="103"/>
                    </a:lnTo>
                    <a:lnTo>
                      <a:pt x="320" y="99"/>
                    </a:lnTo>
                    <a:close/>
                    <a:moveTo>
                      <a:pt x="256" y="0"/>
                    </a:moveTo>
                    <a:lnTo>
                      <a:pt x="1790" y="0"/>
                    </a:lnTo>
                    <a:lnTo>
                      <a:pt x="1831" y="3"/>
                    </a:lnTo>
                    <a:lnTo>
                      <a:pt x="1870" y="13"/>
                    </a:lnTo>
                    <a:lnTo>
                      <a:pt x="1907" y="29"/>
                    </a:lnTo>
                    <a:lnTo>
                      <a:pt x="1940" y="49"/>
                    </a:lnTo>
                    <a:lnTo>
                      <a:pt x="1970" y="75"/>
                    </a:lnTo>
                    <a:lnTo>
                      <a:pt x="1996" y="105"/>
                    </a:lnTo>
                    <a:lnTo>
                      <a:pt x="2017" y="139"/>
                    </a:lnTo>
                    <a:lnTo>
                      <a:pt x="2033" y="175"/>
                    </a:lnTo>
                    <a:lnTo>
                      <a:pt x="2042" y="215"/>
                    </a:lnTo>
                    <a:lnTo>
                      <a:pt x="2045" y="257"/>
                    </a:lnTo>
                    <a:lnTo>
                      <a:pt x="2045" y="829"/>
                    </a:lnTo>
                    <a:lnTo>
                      <a:pt x="1917" y="829"/>
                    </a:lnTo>
                    <a:lnTo>
                      <a:pt x="1917" y="385"/>
                    </a:lnTo>
                    <a:lnTo>
                      <a:pt x="1914" y="365"/>
                    </a:lnTo>
                    <a:lnTo>
                      <a:pt x="1905" y="348"/>
                    </a:lnTo>
                    <a:lnTo>
                      <a:pt x="1891" y="334"/>
                    </a:lnTo>
                    <a:lnTo>
                      <a:pt x="1874" y="324"/>
                    </a:lnTo>
                    <a:lnTo>
                      <a:pt x="1854" y="321"/>
                    </a:lnTo>
                    <a:lnTo>
                      <a:pt x="192" y="321"/>
                    </a:lnTo>
                    <a:lnTo>
                      <a:pt x="172" y="324"/>
                    </a:lnTo>
                    <a:lnTo>
                      <a:pt x="154" y="334"/>
                    </a:lnTo>
                    <a:lnTo>
                      <a:pt x="141" y="348"/>
                    </a:lnTo>
                    <a:lnTo>
                      <a:pt x="131" y="365"/>
                    </a:lnTo>
                    <a:lnTo>
                      <a:pt x="128" y="385"/>
                    </a:lnTo>
                    <a:lnTo>
                      <a:pt x="128" y="2694"/>
                    </a:lnTo>
                    <a:lnTo>
                      <a:pt x="131" y="2714"/>
                    </a:lnTo>
                    <a:lnTo>
                      <a:pt x="141" y="2732"/>
                    </a:lnTo>
                    <a:lnTo>
                      <a:pt x="154" y="2745"/>
                    </a:lnTo>
                    <a:lnTo>
                      <a:pt x="172" y="2755"/>
                    </a:lnTo>
                    <a:lnTo>
                      <a:pt x="192" y="2758"/>
                    </a:lnTo>
                    <a:lnTo>
                      <a:pt x="1854" y="2758"/>
                    </a:lnTo>
                    <a:lnTo>
                      <a:pt x="1874" y="2755"/>
                    </a:lnTo>
                    <a:lnTo>
                      <a:pt x="1891" y="2745"/>
                    </a:lnTo>
                    <a:lnTo>
                      <a:pt x="1905" y="2732"/>
                    </a:lnTo>
                    <a:lnTo>
                      <a:pt x="1914" y="2714"/>
                    </a:lnTo>
                    <a:lnTo>
                      <a:pt x="1917" y="2694"/>
                    </a:lnTo>
                    <a:lnTo>
                      <a:pt x="1917" y="2508"/>
                    </a:lnTo>
                    <a:lnTo>
                      <a:pt x="2045" y="2508"/>
                    </a:lnTo>
                    <a:lnTo>
                      <a:pt x="2045" y="3079"/>
                    </a:lnTo>
                    <a:lnTo>
                      <a:pt x="2042" y="3121"/>
                    </a:lnTo>
                    <a:lnTo>
                      <a:pt x="2033" y="3159"/>
                    </a:lnTo>
                    <a:lnTo>
                      <a:pt x="2017" y="3197"/>
                    </a:lnTo>
                    <a:lnTo>
                      <a:pt x="1996" y="3230"/>
                    </a:lnTo>
                    <a:lnTo>
                      <a:pt x="1970" y="3260"/>
                    </a:lnTo>
                    <a:lnTo>
                      <a:pt x="1940" y="3286"/>
                    </a:lnTo>
                    <a:lnTo>
                      <a:pt x="1907" y="3307"/>
                    </a:lnTo>
                    <a:lnTo>
                      <a:pt x="1870" y="3323"/>
                    </a:lnTo>
                    <a:lnTo>
                      <a:pt x="1831" y="3332"/>
                    </a:lnTo>
                    <a:lnTo>
                      <a:pt x="1790" y="3336"/>
                    </a:lnTo>
                    <a:lnTo>
                      <a:pt x="256" y="3336"/>
                    </a:lnTo>
                    <a:lnTo>
                      <a:pt x="214" y="3332"/>
                    </a:lnTo>
                    <a:lnTo>
                      <a:pt x="175" y="3323"/>
                    </a:lnTo>
                    <a:lnTo>
                      <a:pt x="138" y="3307"/>
                    </a:lnTo>
                    <a:lnTo>
                      <a:pt x="104" y="3286"/>
                    </a:lnTo>
                    <a:lnTo>
                      <a:pt x="75" y="3260"/>
                    </a:lnTo>
                    <a:lnTo>
                      <a:pt x="49" y="3230"/>
                    </a:lnTo>
                    <a:lnTo>
                      <a:pt x="29" y="3197"/>
                    </a:lnTo>
                    <a:lnTo>
                      <a:pt x="13" y="3159"/>
                    </a:lnTo>
                    <a:lnTo>
                      <a:pt x="3" y="3121"/>
                    </a:lnTo>
                    <a:lnTo>
                      <a:pt x="0" y="3079"/>
                    </a:lnTo>
                    <a:lnTo>
                      <a:pt x="0" y="257"/>
                    </a:lnTo>
                    <a:lnTo>
                      <a:pt x="3" y="215"/>
                    </a:lnTo>
                    <a:lnTo>
                      <a:pt x="13" y="175"/>
                    </a:lnTo>
                    <a:lnTo>
                      <a:pt x="29" y="139"/>
                    </a:lnTo>
                    <a:lnTo>
                      <a:pt x="49" y="105"/>
                    </a:lnTo>
                    <a:lnTo>
                      <a:pt x="75" y="75"/>
                    </a:lnTo>
                    <a:lnTo>
                      <a:pt x="104" y="49"/>
                    </a:lnTo>
                    <a:lnTo>
                      <a:pt x="138" y="29"/>
                    </a:lnTo>
                    <a:lnTo>
                      <a:pt x="175" y="13"/>
                    </a:lnTo>
                    <a:lnTo>
                      <a:pt x="214" y="3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</p:grpSp>
      <p:sp>
        <p:nvSpPr>
          <p:cNvPr id="171" name="Rectangle 170"/>
          <p:cNvSpPr/>
          <p:nvPr/>
        </p:nvSpPr>
        <p:spPr>
          <a:xfrm>
            <a:off x="953223" y="2748804"/>
            <a:ext cx="8544168" cy="234000"/>
          </a:xfrm>
          <a:prstGeom prst="rect">
            <a:avLst/>
          </a:prstGeom>
          <a:noFill/>
          <a:ln w="19050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rgbClr val="0166B6">
                    <a:alpha val="35000"/>
                  </a:srgbClr>
                </a:gs>
              </a:gsLst>
              <a:lin ang="10800000" scaled="0"/>
            </a:gradFill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dirty="0">
                <a:latin typeface="Calibri" panose="020F0502020204030204" pitchFamily="34" charset="0"/>
              </a:rPr>
              <a:t>e-Transport i e-Przepływy Towarów </a:t>
            </a:r>
            <a:endParaRPr lang="en-US" altLang="pl-PL" sz="1083" b="1" dirty="0">
              <a:latin typeface="Calibri" panose="020F0502020204030204" pitchFamily="34" charset="0"/>
            </a:endParaRPr>
          </a:p>
        </p:txBody>
      </p:sp>
      <p:sp>
        <p:nvSpPr>
          <p:cNvPr id="199" name="Rectangle 198"/>
          <p:cNvSpPr/>
          <p:nvPr/>
        </p:nvSpPr>
        <p:spPr>
          <a:xfrm>
            <a:off x="531484" y="2754616"/>
            <a:ext cx="434395" cy="237589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en-US" sz="1517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00" name="Group 354"/>
          <p:cNvGrpSpPr>
            <a:grpSpLocks noChangeAspect="1"/>
          </p:cNvGrpSpPr>
          <p:nvPr/>
        </p:nvGrpSpPr>
        <p:grpSpPr>
          <a:xfrm>
            <a:off x="652553" y="2769717"/>
            <a:ext cx="215509" cy="209390"/>
            <a:chOff x="1117349" y="1890245"/>
            <a:chExt cx="269866" cy="262206"/>
          </a:xfrm>
        </p:grpSpPr>
        <p:sp>
          <p:nvSpPr>
            <p:cNvPr id="201" name="Freeform 22"/>
            <p:cNvSpPr>
              <a:spLocks/>
            </p:cNvSpPr>
            <p:nvPr/>
          </p:nvSpPr>
          <p:spPr bwMode="auto">
            <a:xfrm>
              <a:off x="1190278" y="2026172"/>
              <a:ext cx="14472" cy="17026"/>
            </a:xfrm>
            <a:custGeom>
              <a:avLst/>
              <a:gdLst>
                <a:gd name="T0" fmla="*/ 101 w 204"/>
                <a:gd name="T1" fmla="*/ 0 h 239"/>
                <a:gd name="T2" fmla="*/ 123 w 204"/>
                <a:gd name="T3" fmla="*/ 5 h 239"/>
                <a:gd name="T4" fmla="*/ 141 w 204"/>
                <a:gd name="T5" fmla="*/ 13 h 239"/>
                <a:gd name="T6" fmla="*/ 156 w 204"/>
                <a:gd name="T7" fmla="*/ 25 h 239"/>
                <a:gd name="T8" fmla="*/ 168 w 204"/>
                <a:gd name="T9" fmla="*/ 42 h 239"/>
                <a:gd name="T10" fmla="*/ 176 w 204"/>
                <a:gd name="T11" fmla="*/ 59 h 239"/>
                <a:gd name="T12" fmla="*/ 179 w 204"/>
                <a:gd name="T13" fmla="*/ 79 h 239"/>
                <a:gd name="T14" fmla="*/ 178 w 204"/>
                <a:gd name="T15" fmla="*/ 98 h 239"/>
                <a:gd name="T16" fmla="*/ 191 w 204"/>
                <a:gd name="T17" fmla="*/ 113 h 239"/>
                <a:gd name="T18" fmla="*/ 199 w 204"/>
                <a:gd name="T19" fmla="*/ 131 h 239"/>
                <a:gd name="T20" fmla="*/ 204 w 204"/>
                <a:gd name="T21" fmla="*/ 150 h 239"/>
                <a:gd name="T22" fmla="*/ 204 w 204"/>
                <a:gd name="T23" fmla="*/ 169 h 239"/>
                <a:gd name="T24" fmla="*/ 198 w 204"/>
                <a:gd name="T25" fmla="*/ 188 h 239"/>
                <a:gd name="T26" fmla="*/ 189 w 204"/>
                <a:gd name="T27" fmla="*/ 206 h 239"/>
                <a:gd name="T28" fmla="*/ 175 w 204"/>
                <a:gd name="T29" fmla="*/ 221 h 239"/>
                <a:gd name="T30" fmla="*/ 158 w 204"/>
                <a:gd name="T31" fmla="*/ 231 h 239"/>
                <a:gd name="T32" fmla="*/ 141 w 204"/>
                <a:gd name="T33" fmla="*/ 238 h 239"/>
                <a:gd name="T34" fmla="*/ 122 w 204"/>
                <a:gd name="T35" fmla="*/ 239 h 239"/>
                <a:gd name="T36" fmla="*/ 105 w 204"/>
                <a:gd name="T37" fmla="*/ 238 h 239"/>
                <a:gd name="T38" fmla="*/ 89 w 204"/>
                <a:gd name="T39" fmla="*/ 233 h 239"/>
                <a:gd name="T40" fmla="*/ 74 w 204"/>
                <a:gd name="T41" fmla="*/ 224 h 239"/>
                <a:gd name="T42" fmla="*/ 34 w 204"/>
                <a:gd name="T43" fmla="*/ 195 h 239"/>
                <a:gd name="T44" fmla="*/ 19 w 204"/>
                <a:gd name="T45" fmla="*/ 181 h 239"/>
                <a:gd name="T46" fmla="*/ 8 w 204"/>
                <a:gd name="T47" fmla="*/ 164 h 239"/>
                <a:gd name="T48" fmla="*/ 3 w 204"/>
                <a:gd name="T49" fmla="*/ 144 h 239"/>
                <a:gd name="T50" fmla="*/ 0 w 204"/>
                <a:gd name="T51" fmla="*/ 124 h 239"/>
                <a:gd name="T52" fmla="*/ 5 w 204"/>
                <a:gd name="T53" fmla="*/ 104 h 239"/>
                <a:gd name="T54" fmla="*/ 20 w 204"/>
                <a:gd name="T55" fmla="*/ 57 h 239"/>
                <a:gd name="T56" fmla="*/ 29 w 204"/>
                <a:gd name="T57" fmla="*/ 37 h 239"/>
                <a:gd name="T58" fmla="*/ 43 w 204"/>
                <a:gd name="T59" fmla="*/ 21 h 239"/>
                <a:gd name="T60" fmla="*/ 60 w 204"/>
                <a:gd name="T61" fmla="*/ 9 h 239"/>
                <a:gd name="T62" fmla="*/ 80 w 204"/>
                <a:gd name="T63" fmla="*/ 2 h 239"/>
                <a:gd name="T64" fmla="*/ 101 w 204"/>
                <a:gd name="T6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4" h="239">
                  <a:moveTo>
                    <a:pt x="101" y="0"/>
                  </a:moveTo>
                  <a:lnTo>
                    <a:pt x="123" y="5"/>
                  </a:lnTo>
                  <a:lnTo>
                    <a:pt x="141" y="13"/>
                  </a:lnTo>
                  <a:lnTo>
                    <a:pt x="156" y="25"/>
                  </a:lnTo>
                  <a:lnTo>
                    <a:pt x="168" y="42"/>
                  </a:lnTo>
                  <a:lnTo>
                    <a:pt x="176" y="59"/>
                  </a:lnTo>
                  <a:lnTo>
                    <a:pt x="179" y="79"/>
                  </a:lnTo>
                  <a:lnTo>
                    <a:pt x="178" y="98"/>
                  </a:lnTo>
                  <a:lnTo>
                    <a:pt x="191" y="113"/>
                  </a:lnTo>
                  <a:lnTo>
                    <a:pt x="199" y="131"/>
                  </a:lnTo>
                  <a:lnTo>
                    <a:pt x="204" y="150"/>
                  </a:lnTo>
                  <a:lnTo>
                    <a:pt x="204" y="169"/>
                  </a:lnTo>
                  <a:lnTo>
                    <a:pt x="198" y="188"/>
                  </a:lnTo>
                  <a:lnTo>
                    <a:pt x="189" y="206"/>
                  </a:lnTo>
                  <a:lnTo>
                    <a:pt x="175" y="221"/>
                  </a:lnTo>
                  <a:lnTo>
                    <a:pt x="158" y="231"/>
                  </a:lnTo>
                  <a:lnTo>
                    <a:pt x="141" y="238"/>
                  </a:lnTo>
                  <a:lnTo>
                    <a:pt x="122" y="239"/>
                  </a:lnTo>
                  <a:lnTo>
                    <a:pt x="105" y="238"/>
                  </a:lnTo>
                  <a:lnTo>
                    <a:pt x="89" y="233"/>
                  </a:lnTo>
                  <a:lnTo>
                    <a:pt x="74" y="224"/>
                  </a:lnTo>
                  <a:lnTo>
                    <a:pt x="34" y="195"/>
                  </a:lnTo>
                  <a:lnTo>
                    <a:pt x="19" y="181"/>
                  </a:lnTo>
                  <a:lnTo>
                    <a:pt x="8" y="164"/>
                  </a:lnTo>
                  <a:lnTo>
                    <a:pt x="3" y="144"/>
                  </a:lnTo>
                  <a:lnTo>
                    <a:pt x="0" y="124"/>
                  </a:lnTo>
                  <a:lnTo>
                    <a:pt x="5" y="104"/>
                  </a:lnTo>
                  <a:lnTo>
                    <a:pt x="20" y="57"/>
                  </a:lnTo>
                  <a:lnTo>
                    <a:pt x="29" y="37"/>
                  </a:lnTo>
                  <a:lnTo>
                    <a:pt x="43" y="21"/>
                  </a:lnTo>
                  <a:lnTo>
                    <a:pt x="60" y="9"/>
                  </a:lnTo>
                  <a:lnTo>
                    <a:pt x="80" y="2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02" name="Freeform 23"/>
            <p:cNvSpPr>
              <a:spLocks/>
            </p:cNvSpPr>
            <p:nvPr/>
          </p:nvSpPr>
          <p:spPr bwMode="auto">
            <a:xfrm>
              <a:off x="1199926" y="1992119"/>
              <a:ext cx="14189" cy="19580"/>
            </a:xfrm>
            <a:custGeom>
              <a:avLst/>
              <a:gdLst>
                <a:gd name="T0" fmla="*/ 121 w 199"/>
                <a:gd name="T1" fmla="*/ 0 h 275"/>
                <a:gd name="T2" fmla="*/ 143 w 199"/>
                <a:gd name="T3" fmla="*/ 5 h 275"/>
                <a:gd name="T4" fmla="*/ 162 w 199"/>
                <a:gd name="T5" fmla="*/ 14 h 275"/>
                <a:gd name="T6" fmla="*/ 179 w 199"/>
                <a:gd name="T7" fmla="*/ 28 h 275"/>
                <a:gd name="T8" fmla="*/ 190 w 199"/>
                <a:gd name="T9" fmla="*/ 45 h 275"/>
                <a:gd name="T10" fmla="*/ 197 w 199"/>
                <a:gd name="T11" fmla="*/ 65 h 275"/>
                <a:gd name="T12" fmla="*/ 199 w 199"/>
                <a:gd name="T13" fmla="*/ 86 h 275"/>
                <a:gd name="T14" fmla="*/ 195 w 199"/>
                <a:gd name="T15" fmla="*/ 108 h 275"/>
                <a:gd name="T16" fmla="*/ 159 w 199"/>
                <a:gd name="T17" fmla="*/ 219 h 275"/>
                <a:gd name="T18" fmla="*/ 150 w 199"/>
                <a:gd name="T19" fmla="*/ 238 h 275"/>
                <a:gd name="T20" fmla="*/ 137 w 199"/>
                <a:gd name="T21" fmla="*/ 253 h 275"/>
                <a:gd name="T22" fmla="*/ 120 w 199"/>
                <a:gd name="T23" fmla="*/ 265 h 275"/>
                <a:gd name="T24" fmla="*/ 101 w 199"/>
                <a:gd name="T25" fmla="*/ 273 h 275"/>
                <a:gd name="T26" fmla="*/ 82 w 199"/>
                <a:gd name="T27" fmla="*/ 275 h 275"/>
                <a:gd name="T28" fmla="*/ 69 w 199"/>
                <a:gd name="T29" fmla="*/ 274 h 275"/>
                <a:gd name="T30" fmla="*/ 56 w 199"/>
                <a:gd name="T31" fmla="*/ 272 h 275"/>
                <a:gd name="T32" fmla="*/ 35 w 199"/>
                <a:gd name="T33" fmla="*/ 261 h 275"/>
                <a:gd name="T34" fmla="*/ 20 w 199"/>
                <a:gd name="T35" fmla="*/ 248 h 275"/>
                <a:gd name="T36" fmla="*/ 8 w 199"/>
                <a:gd name="T37" fmla="*/ 230 h 275"/>
                <a:gd name="T38" fmla="*/ 1 w 199"/>
                <a:gd name="T39" fmla="*/ 211 h 275"/>
                <a:gd name="T40" fmla="*/ 0 w 199"/>
                <a:gd name="T41" fmla="*/ 190 h 275"/>
                <a:gd name="T42" fmla="*/ 3 w 199"/>
                <a:gd name="T43" fmla="*/ 168 h 275"/>
                <a:gd name="T44" fmla="*/ 39 w 199"/>
                <a:gd name="T45" fmla="*/ 57 h 275"/>
                <a:gd name="T46" fmla="*/ 49 w 199"/>
                <a:gd name="T47" fmla="*/ 37 h 275"/>
                <a:gd name="T48" fmla="*/ 63 w 199"/>
                <a:gd name="T49" fmla="*/ 21 h 275"/>
                <a:gd name="T50" fmla="*/ 80 w 199"/>
                <a:gd name="T51" fmla="*/ 10 h 275"/>
                <a:gd name="T52" fmla="*/ 100 w 199"/>
                <a:gd name="T53" fmla="*/ 3 h 275"/>
                <a:gd name="T54" fmla="*/ 121 w 199"/>
                <a:gd name="T55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9" h="275">
                  <a:moveTo>
                    <a:pt x="121" y="0"/>
                  </a:moveTo>
                  <a:lnTo>
                    <a:pt x="143" y="5"/>
                  </a:lnTo>
                  <a:lnTo>
                    <a:pt x="162" y="14"/>
                  </a:lnTo>
                  <a:lnTo>
                    <a:pt x="179" y="28"/>
                  </a:lnTo>
                  <a:lnTo>
                    <a:pt x="190" y="45"/>
                  </a:lnTo>
                  <a:lnTo>
                    <a:pt x="197" y="65"/>
                  </a:lnTo>
                  <a:lnTo>
                    <a:pt x="199" y="86"/>
                  </a:lnTo>
                  <a:lnTo>
                    <a:pt x="195" y="108"/>
                  </a:lnTo>
                  <a:lnTo>
                    <a:pt x="159" y="219"/>
                  </a:lnTo>
                  <a:lnTo>
                    <a:pt x="150" y="238"/>
                  </a:lnTo>
                  <a:lnTo>
                    <a:pt x="137" y="253"/>
                  </a:lnTo>
                  <a:lnTo>
                    <a:pt x="120" y="265"/>
                  </a:lnTo>
                  <a:lnTo>
                    <a:pt x="101" y="273"/>
                  </a:lnTo>
                  <a:lnTo>
                    <a:pt x="82" y="275"/>
                  </a:lnTo>
                  <a:lnTo>
                    <a:pt x="69" y="274"/>
                  </a:lnTo>
                  <a:lnTo>
                    <a:pt x="56" y="272"/>
                  </a:lnTo>
                  <a:lnTo>
                    <a:pt x="35" y="261"/>
                  </a:lnTo>
                  <a:lnTo>
                    <a:pt x="20" y="248"/>
                  </a:lnTo>
                  <a:lnTo>
                    <a:pt x="8" y="230"/>
                  </a:lnTo>
                  <a:lnTo>
                    <a:pt x="1" y="211"/>
                  </a:lnTo>
                  <a:lnTo>
                    <a:pt x="0" y="190"/>
                  </a:lnTo>
                  <a:lnTo>
                    <a:pt x="3" y="168"/>
                  </a:lnTo>
                  <a:lnTo>
                    <a:pt x="39" y="57"/>
                  </a:lnTo>
                  <a:lnTo>
                    <a:pt x="49" y="37"/>
                  </a:lnTo>
                  <a:lnTo>
                    <a:pt x="63" y="21"/>
                  </a:lnTo>
                  <a:lnTo>
                    <a:pt x="80" y="10"/>
                  </a:lnTo>
                  <a:lnTo>
                    <a:pt x="100" y="3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03" name="Freeform 24"/>
            <p:cNvSpPr>
              <a:spLocks/>
            </p:cNvSpPr>
            <p:nvPr/>
          </p:nvSpPr>
          <p:spPr bwMode="auto">
            <a:xfrm>
              <a:off x="1210993" y="1962607"/>
              <a:ext cx="16459" cy="14756"/>
            </a:xfrm>
            <a:custGeom>
              <a:avLst/>
              <a:gdLst>
                <a:gd name="T0" fmla="*/ 98 w 229"/>
                <a:gd name="T1" fmla="*/ 0 h 211"/>
                <a:gd name="T2" fmla="*/ 147 w 229"/>
                <a:gd name="T3" fmla="*/ 0 h 211"/>
                <a:gd name="T4" fmla="*/ 169 w 229"/>
                <a:gd name="T5" fmla="*/ 3 h 211"/>
                <a:gd name="T6" fmla="*/ 188 w 229"/>
                <a:gd name="T7" fmla="*/ 11 h 211"/>
                <a:gd name="T8" fmla="*/ 205 w 229"/>
                <a:gd name="T9" fmla="*/ 23 h 211"/>
                <a:gd name="T10" fmla="*/ 218 w 229"/>
                <a:gd name="T11" fmla="*/ 41 h 211"/>
                <a:gd name="T12" fmla="*/ 226 w 229"/>
                <a:gd name="T13" fmla="*/ 60 h 211"/>
                <a:gd name="T14" fmla="*/ 229 w 229"/>
                <a:gd name="T15" fmla="*/ 82 h 211"/>
                <a:gd name="T16" fmla="*/ 226 w 229"/>
                <a:gd name="T17" fmla="*/ 102 h 211"/>
                <a:gd name="T18" fmla="*/ 219 w 229"/>
                <a:gd name="T19" fmla="*/ 120 h 211"/>
                <a:gd name="T20" fmla="*/ 208 w 229"/>
                <a:gd name="T21" fmla="*/ 137 h 211"/>
                <a:gd name="T22" fmla="*/ 193 w 229"/>
                <a:gd name="T23" fmla="*/ 149 h 211"/>
                <a:gd name="T24" fmla="*/ 176 w 229"/>
                <a:gd name="T25" fmla="*/ 159 h 211"/>
                <a:gd name="T26" fmla="*/ 156 w 229"/>
                <a:gd name="T27" fmla="*/ 163 h 211"/>
                <a:gd name="T28" fmla="*/ 147 w 229"/>
                <a:gd name="T29" fmla="*/ 179 h 211"/>
                <a:gd name="T30" fmla="*/ 133 w 229"/>
                <a:gd name="T31" fmla="*/ 192 h 211"/>
                <a:gd name="T32" fmla="*/ 118 w 229"/>
                <a:gd name="T33" fmla="*/ 202 h 211"/>
                <a:gd name="T34" fmla="*/ 101 w 229"/>
                <a:gd name="T35" fmla="*/ 208 h 211"/>
                <a:gd name="T36" fmla="*/ 83 w 229"/>
                <a:gd name="T37" fmla="*/ 211 h 211"/>
                <a:gd name="T38" fmla="*/ 70 w 229"/>
                <a:gd name="T39" fmla="*/ 209 h 211"/>
                <a:gd name="T40" fmla="*/ 57 w 229"/>
                <a:gd name="T41" fmla="*/ 206 h 211"/>
                <a:gd name="T42" fmla="*/ 37 w 229"/>
                <a:gd name="T43" fmla="*/ 197 h 211"/>
                <a:gd name="T44" fmla="*/ 21 w 229"/>
                <a:gd name="T45" fmla="*/ 183 h 211"/>
                <a:gd name="T46" fmla="*/ 10 w 229"/>
                <a:gd name="T47" fmla="*/ 166 h 211"/>
                <a:gd name="T48" fmla="*/ 3 w 229"/>
                <a:gd name="T49" fmla="*/ 146 h 211"/>
                <a:gd name="T50" fmla="*/ 0 w 229"/>
                <a:gd name="T51" fmla="*/ 125 h 211"/>
                <a:gd name="T52" fmla="*/ 5 w 229"/>
                <a:gd name="T53" fmla="*/ 103 h 211"/>
                <a:gd name="T54" fmla="*/ 20 w 229"/>
                <a:gd name="T55" fmla="*/ 57 h 211"/>
                <a:gd name="T56" fmla="*/ 29 w 229"/>
                <a:gd name="T57" fmla="*/ 37 h 211"/>
                <a:gd name="T58" fmla="*/ 42 w 229"/>
                <a:gd name="T59" fmla="*/ 22 h 211"/>
                <a:gd name="T60" fmla="*/ 58 w 229"/>
                <a:gd name="T61" fmla="*/ 11 h 211"/>
                <a:gd name="T62" fmla="*/ 77 w 229"/>
                <a:gd name="T63" fmla="*/ 3 h 211"/>
                <a:gd name="T64" fmla="*/ 98 w 229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9" h="211">
                  <a:moveTo>
                    <a:pt x="98" y="0"/>
                  </a:moveTo>
                  <a:lnTo>
                    <a:pt x="147" y="0"/>
                  </a:lnTo>
                  <a:lnTo>
                    <a:pt x="169" y="3"/>
                  </a:lnTo>
                  <a:lnTo>
                    <a:pt x="188" y="11"/>
                  </a:lnTo>
                  <a:lnTo>
                    <a:pt x="205" y="23"/>
                  </a:lnTo>
                  <a:lnTo>
                    <a:pt x="218" y="41"/>
                  </a:lnTo>
                  <a:lnTo>
                    <a:pt x="226" y="60"/>
                  </a:lnTo>
                  <a:lnTo>
                    <a:pt x="229" y="82"/>
                  </a:lnTo>
                  <a:lnTo>
                    <a:pt x="226" y="102"/>
                  </a:lnTo>
                  <a:lnTo>
                    <a:pt x="219" y="120"/>
                  </a:lnTo>
                  <a:lnTo>
                    <a:pt x="208" y="137"/>
                  </a:lnTo>
                  <a:lnTo>
                    <a:pt x="193" y="149"/>
                  </a:lnTo>
                  <a:lnTo>
                    <a:pt x="176" y="159"/>
                  </a:lnTo>
                  <a:lnTo>
                    <a:pt x="156" y="163"/>
                  </a:lnTo>
                  <a:lnTo>
                    <a:pt x="147" y="179"/>
                  </a:lnTo>
                  <a:lnTo>
                    <a:pt x="133" y="192"/>
                  </a:lnTo>
                  <a:lnTo>
                    <a:pt x="118" y="202"/>
                  </a:lnTo>
                  <a:lnTo>
                    <a:pt x="101" y="208"/>
                  </a:lnTo>
                  <a:lnTo>
                    <a:pt x="83" y="211"/>
                  </a:lnTo>
                  <a:lnTo>
                    <a:pt x="70" y="209"/>
                  </a:lnTo>
                  <a:lnTo>
                    <a:pt x="57" y="206"/>
                  </a:lnTo>
                  <a:lnTo>
                    <a:pt x="37" y="197"/>
                  </a:lnTo>
                  <a:lnTo>
                    <a:pt x="21" y="183"/>
                  </a:lnTo>
                  <a:lnTo>
                    <a:pt x="10" y="166"/>
                  </a:lnTo>
                  <a:lnTo>
                    <a:pt x="3" y="146"/>
                  </a:lnTo>
                  <a:lnTo>
                    <a:pt x="0" y="125"/>
                  </a:lnTo>
                  <a:lnTo>
                    <a:pt x="5" y="103"/>
                  </a:lnTo>
                  <a:lnTo>
                    <a:pt x="20" y="57"/>
                  </a:lnTo>
                  <a:lnTo>
                    <a:pt x="29" y="37"/>
                  </a:lnTo>
                  <a:lnTo>
                    <a:pt x="42" y="22"/>
                  </a:lnTo>
                  <a:lnTo>
                    <a:pt x="58" y="11"/>
                  </a:lnTo>
                  <a:lnTo>
                    <a:pt x="77" y="3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04" name="Freeform 25"/>
            <p:cNvSpPr>
              <a:spLocks/>
            </p:cNvSpPr>
            <p:nvPr/>
          </p:nvSpPr>
          <p:spPr bwMode="auto">
            <a:xfrm>
              <a:off x="1243343" y="1962607"/>
              <a:ext cx="19864" cy="11351"/>
            </a:xfrm>
            <a:custGeom>
              <a:avLst/>
              <a:gdLst>
                <a:gd name="T0" fmla="*/ 82 w 281"/>
                <a:gd name="T1" fmla="*/ 0 h 163"/>
                <a:gd name="T2" fmla="*/ 199 w 281"/>
                <a:gd name="T3" fmla="*/ 0 h 163"/>
                <a:gd name="T4" fmla="*/ 221 w 281"/>
                <a:gd name="T5" fmla="*/ 3 h 163"/>
                <a:gd name="T6" fmla="*/ 241 w 281"/>
                <a:gd name="T7" fmla="*/ 11 h 163"/>
                <a:gd name="T8" fmla="*/ 258 w 281"/>
                <a:gd name="T9" fmla="*/ 23 h 163"/>
                <a:gd name="T10" fmla="*/ 271 w 281"/>
                <a:gd name="T11" fmla="*/ 41 h 163"/>
                <a:gd name="T12" fmla="*/ 279 w 281"/>
                <a:gd name="T13" fmla="*/ 60 h 163"/>
                <a:gd name="T14" fmla="*/ 281 w 281"/>
                <a:gd name="T15" fmla="*/ 82 h 163"/>
                <a:gd name="T16" fmla="*/ 279 w 281"/>
                <a:gd name="T17" fmla="*/ 103 h 163"/>
                <a:gd name="T18" fmla="*/ 271 w 281"/>
                <a:gd name="T19" fmla="*/ 123 h 163"/>
                <a:gd name="T20" fmla="*/ 258 w 281"/>
                <a:gd name="T21" fmla="*/ 140 h 163"/>
                <a:gd name="T22" fmla="*/ 241 w 281"/>
                <a:gd name="T23" fmla="*/ 153 h 163"/>
                <a:gd name="T24" fmla="*/ 221 w 281"/>
                <a:gd name="T25" fmla="*/ 161 h 163"/>
                <a:gd name="T26" fmla="*/ 199 w 281"/>
                <a:gd name="T27" fmla="*/ 163 h 163"/>
                <a:gd name="T28" fmla="*/ 82 w 281"/>
                <a:gd name="T29" fmla="*/ 163 h 163"/>
                <a:gd name="T30" fmla="*/ 61 w 281"/>
                <a:gd name="T31" fmla="*/ 161 h 163"/>
                <a:gd name="T32" fmla="*/ 41 w 281"/>
                <a:gd name="T33" fmla="*/ 153 h 163"/>
                <a:gd name="T34" fmla="*/ 25 w 281"/>
                <a:gd name="T35" fmla="*/ 140 h 163"/>
                <a:gd name="T36" fmla="*/ 12 w 281"/>
                <a:gd name="T37" fmla="*/ 123 h 163"/>
                <a:gd name="T38" fmla="*/ 4 w 281"/>
                <a:gd name="T39" fmla="*/ 103 h 163"/>
                <a:gd name="T40" fmla="*/ 0 w 281"/>
                <a:gd name="T41" fmla="*/ 82 h 163"/>
                <a:gd name="T42" fmla="*/ 4 w 281"/>
                <a:gd name="T43" fmla="*/ 60 h 163"/>
                <a:gd name="T44" fmla="*/ 12 w 281"/>
                <a:gd name="T45" fmla="*/ 41 h 163"/>
                <a:gd name="T46" fmla="*/ 25 w 281"/>
                <a:gd name="T47" fmla="*/ 23 h 163"/>
                <a:gd name="T48" fmla="*/ 41 w 281"/>
                <a:gd name="T49" fmla="*/ 11 h 163"/>
                <a:gd name="T50" fmla="*/ 61 w 281"/>
                <a:gd name="T51" fmla="*/ 3 h 163"/>
                <a:gd name="T52" fmla="*/ 82 w 281"/>
                <a:gd name="T53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81" h="163">
                  <a:moveTo>
                    <a:pt x="82" y="0"/>
                  </a:moveTo>
                  <a:lnTo>
                    <a:pt x="199" y="0"/>
                  </a:lnTo>
                  <a:lnTo>
                    <a:pt x="221" y="3"/>
                  </a:lnTo>
                  <a:lnTo>
                    <a:pt x="241" y="11"/>
                  </a:lnTo>
                  <a:lnTo>
                    <a:pt x="258" y="23"/>
                  </a:lnTo>
                  <a:lnTo>
                    <a:pt x="271" y="41"/>
                  </a:lnTo>
                  <a:lnTo>
                    <a:pt x="279" y="60"/>
                  </a:lnTo>
                  <a:lnTo>
                    <a:pt x="281" y="82"/>
                  </a:lnTo>
                  <a:lnTo>
                    <a:pt x="279" y="103"/>
                  </a:lnTo>
                  <a:lnTo>
                    <a:pt x="271" y="123"/>
                  </a:lnTo>
                  <a:lnTo>
                    <a:pt x="258" y="140"/>
                  </a:lnTo>
                  <a:lnTo>
                    <a:pt x="241" y="153"/>
                  </a:lnTo>
                  <a:lnTo>
                    <a:pt x="221" y="161"/>
                  </a:lnTo>
                  <a:lnTo>
                    <a:pt x="199" y="163"/>
                  </a:lnTo>
                  <a:lnTo>
                    <a:pt x="82" y="163"/>
                  </a:lnTo>
                  <a:lnTo>
                    <a:pt x="61" y="161"/>
                  </a:lnTo>
                  <a:lnTo>
                    <a:pt x="41" y="153"/>
                  </a:lnTo>
                  <a:lnTo>
                    <a:pt x="25" y="140"/>
                  </a:lnTo>
                  <a:lnTo>
                    <a:pt x="12" y="123"/>
                  </a:lnTo>
                  <a:lnTo>
                    <a:pt x="4" y="103"/>
                  </a:lnTo>
                  <a:lnTo>
                    <a:pt x="0" y="82"/>
                  </a:lnTo>
                  <a:lnTo>
                    <a:pt x="4" y="60"/>
                  </a:lnTo>
                  <a:lnTo>
                    <a:pt x="12" y="41"/>
                  </a:lnTo>
                  <a:lnTo>
                    <a:pt x="25" y="23"/>
                  </a:lnTo>
                  <a:lnTo>
                    <a:pt x="41" y="11"/>
                  </a:lnTo>
                  <a:lnTo>
                    <a:pt x="61" y="3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05" name="Freeform 26"/>
            <p:cNvSpPr>
              <a:spLocks/>
            </p:cNvSpPr>
            <p:nvPr/>
          </p:nvSpPr>
          <p:spPr bwMode="auto">
            <a:xfrm>
              <a:off x="1279382" y="1962607"/>
              <a:ext cx="16175" cy="14756"/>
            </a:xfrm>
            <a:custGeom>
              <a:avLst/>
              <a:gdLst>
                <a:gd name="T0" fmla="*/ 82 w 227"/>
                <a:gd name="T1" fmla="*/ 0 h 211"/>
                <a:gd name="T2" fmla="*/ 130 w 227"/>
                <a:gd name="T3" fmla="*/ 0 h 211"/>
                <a:gd name="T4" fmla="*/ 151 w 227"/>
                <a:gd name="T5" fmla="*/ 3 h 211"/>
                <a:gd name="T6" fmla="*/ 171 w 227"/>
                <a:gd name="T7" fmla="*/ 11 h 211"/>
                <a:gd name="T8" fmla="*/ 187 w 227"/>
                <a:gd name="T9" fmla="*/ 22 h 211"/>
                <a:gd name="T10" fmla="*/ 199 w 227"/>
                <a:gd name="T11" fmla="*/ 37 h 211"/>
                <a:gd name="T12" fmla="*/ 209 w 227"/>
                <a:gd name="T13" fmla="*/ 57 h 211"/>
                <a:gd name="T14" fmla="*/ 224 w 227"/>
                <a:gd name="T15" fmla="*/ 103 h 211"/>
                <a:gd name="T16" fmla="*/ 227 w 227"/>
                <a:gd name="T17" fmla="*/ 125 h 211"/>
                <a:gd name="T18" fmla="*/ 226 w 227"/>
                <a:gd name="T19" fmla="*/ 146 h 211"/>
                <a:gd name="T20" fmla="*/ 219 w 227"/>
                <a:gd name="T21" fmla="*/ 166 h 211"/>
                <a:gd name="T22" fmla="*/ 206 w 227"/>
                <a:gd name="T23" fmla="*/ 183 h 211"/>
                <a:gd name="T24" fmla="*/ 191 w 227"/>
                <a:gd name="T25" fmla="*/ 197 h 211"/>
                <a:gd name="T26" fmla="*/ 171 w 227"/>
                <a:gd name="T27" fmla="*/ 206 h 211"/>
                <a:gd name="T28" fmla="*/ 159 w 227"/>
                <a:gd name="T29" fmla="*/ 209 h 211"/>
                <a:gd name="T30" fmla="*/ 146 w 227"/>
                <a:gd name="T31" fmla="*/ 211 h 211"/>
                <a:gd name="T32" fmla="*/ 128 w 227"/>
                <a:gd name="T33" fmla="*/ 208 h 211"/>
                <a:gd name="T34" fmla="*/ 110 w 227"/>
                <a:gd name="T35" fmla="*/ 202 h 211"/>
                <a:gd name="T36" fmla="*/ 94 w 227"/>
                <a:gd name="T37" fmla="*/ 192 h 211"/>
                <a:gd name="T38" fmla="*/ 82 w 227"/>
                <a:gd name="T39" fmla="*/ 179 h 211"/>
                <a:gd name="T40" fmla="*/ 71 w 227"/>
                <a:gd name="T41" fmla="*/ 163 h 211"/>
                <a:gd name="T42" fmla="*/ 53 w 227"/>
                <a:gd name="T43" fmla="*/ 159 h 211"/>
                <a:gd name="T44" fmla="*/ 35 w 227"/>
                <a:gd name="T45" fmla="*/ 149 h 211"/>
                <a:gd name="T46" fmla="*/ 20 w 227"/>
                <a:gd name="T47" fmla="*/ 137 h 211"/>
                <a:gd name="T48" fmla="*/ 9 w 227"/>
                <a:gd name="T49" fmla="*/ 120 h 211"/>
                <a:gd name="T50" fmla="*/ 2 w 227"/>
                <a:gd name="T51" fmla="*/ 102 h 211"/>
                <a:gd name="T52" fmla="*/ 0 w 227"/>
                <a:gd name="T53" fmla="*/ 82 h 211"/>
                <a:gd name="T54" fmla="*/ 3 w 227"/>
                <a:gd name="T55" fmla="*/ 60 h 211"/>
                <a:gd name="T56" fmla="*/ 11 w 227"/>
                <a:gd name="T57" fmla="*/ 41 h 211"/>
                <a:gd name="T58" fmla="*/ 24 w 227"/>
                <a:gd name="T59" fmla="*/ 23 h 211"/>
                <a:gd name="T60" fmla="*/ 40 w 227"/>
                <a:gd name="T61" fmla="*/ 11 h 211"/>
                <a:gd name="T62" fmla="*/ 60 w 227"/>
                <a:gd name="T63" fmla="*/ 3 h 211"/>
                <a:gd name="T64" fmla="*/ 82 w 227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7" h="211">
                  <a:moveTo>
                    <a:pt x="82" y="0"/>
                  </a:moveTo>
                  <a:lnTo>
                    <a:pt x="130" y="0"/>
                  </a:lnTo>
                  <a:lnTo>
                    <a:pt x="151" y="3"/>
                  </a:lnTo>
                  <a:lnTo>
                    <a:pt x="171" y="11"/>
                  </a:lnTo>
                  <a:lnTo>
                    <a:pt x="187" y="22"/>
                  </a:lnTo>
                  <a:lnTo>
                    <a:pt x="199" y="37"/>
                  </a:lnTo>
                  <a:lnTo>
                    <a:pt x="209" y="57"/>
                  </a:lnTo>
                  <a:lnTo>
                    <a:pt x="224" y="103"/>
                  </a:lnTo>
                  <a:lnTo>
                    <a:pt x="227" y="125"/>
                  </a:lnTo>
                  <a:lnTo>
                    <a:pt x="226" y="146"/>
                  </a:lnTo>
                  <a:lnTo>
                    <a:pt x="219" y="166"/>
                  </a:lnTo>
                  <a:lnTo>
                    <a:pt x="206" y="183"/>
                  </a:lnTo>
                  <a:lnTo>
                    <a:pt x="191" y="197"/>
                  </a:lnTo>
                  <a:lnTo>
                    <a:pt x="171" y="206"/>
                  </a:lnTo>
                  <a:lnTo>
                    <a:pt x="159" y="209"/>
                  </a:lnTo>
                  <a:lnTo>
                    <a:pt x="146" y="211"/>
                  </a:lnTo>
                  <a:lnTo>
                    <a:pt x="128" y="208"/>
                  </a:lnTo>
                  <a:lnTo>
                    <a:pt x="110" y="202"/>
                  </a:lnTo>
                  <a:lnTo>
                    <a:pt x="94" y="192"/>
                  </a:lnTo>
                  <a:lnTo>
                    <a:pt x="82" y="179"/>
                  </a:lnTo>
                  <a:lnTo>
                    <a:pt x="71" y="163"/>
                  </a:lnTo>
                  <a:lnTo>
                    <a:pt x="53" y="159"/>
                  </a:lnTo>
                  <a:lnTo>
                    <a:pt x="35" y="149"/>
                  </a:lnTo>
                  <a:lnTo>
                    <a:pt x="20" y="137"/>
                  </a:lnTo>
                  <a:lnTo>
                    <a:pt x="9" y="120"/>
                  </a:lnTo>
                  <a:lnTo>
                    <a:pt x="2" y="102"/>
                  </a:lnTo>
                  <a:lnTo>
                    <a:pt x="0" y="82"/>
                  </a:lnTo>
                  <a:lnTo>
                    <a:pt x="3" y="60"/>
                  </a:lnTo>
                  <a:lnTo>
                    <a:pt x="11" y="41"/>
                  </a:lnTo>
                  <a:lnTo>
                    <a:pt x="24" y="23"/>
                  </a:lnTo>
                  <a:lnTo>
                    <a:pt x="40" y="11"/>
                  </a:lnTo>
                  <a:lnTo>
                    <a:pt x="60" y="3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06" name="Freeform 27"/>
            <p:cNvSpPr>
              <a:spLocks/>
            </p:cNvSpPr>
            <p:nvPr/>
          </p:nvSpPr>
          <p:spPr bwMode="auto">
            <a:xfrm>
              <a:off x="1292436" y="1992119"/>
              <a:ext cx="14189" cy="19580"/>
            </a:xfrm>
            <a:custGeom>
              <a:avLst/>
              <a:gdLst>
                <a:gd name="T0" fmla="*/ 79 w 200"/>
                <a:gd name="T1" fmla="*/ 0 h 275"/>
                <a:gd name="T2" fmla="*/ 100 w 200"/>
                <a:gd name="T3" fmla="*/ 3 h 275"/>
                <a:gd name="T4" fmla="*/ 119 w 200"/>
                <a:gd name="T5" fmla="*/ 10 h 275"/>
                <a:gd name="T6" fmla="*/ 137 w 200"/>
                <a:gd name="T7" fmla="*/ 21 h 275"/>
                <a:gd name="T8" fmla="*/ 151 w 200"/>
                <a:gd name="T9" fmla="*/ 37 h 275"/>
                <a:gd name="T10" fmla="*/ 160 w 200"/>
                <a:gd name="T11" fmla="*/ 57 h 275"/>
                <a:gd name="T12" fmla="*/ 197 w 200"/>
                <a:gd name="T13" fmla="*/ 168 h 275"/>
                <a:gd name="T14" fmla="*/ 200 w 200"/>
                <a:gd name="T15" fmla="*/ 190 h 275"/>
                <a:gd name="T16" fmla="*/ 198 w 200"/>
                <a:gd name="T17" fmla="*/ 211 h 275"/>
                <a:gd name="T18" fmla="*/ 191 w 200"/>
                <a:gd name="T19" fmla="*/ 230 h 275"/>
                <a:gd name="T20" fmla="*/ 179 w 200"/>
                <a:gd name="T21" fmla="*/ 248 h 275"/>
                <a:gd name="T22" fmla="*/ 163 w 200"/>
                <a:gd name="T23" fmla="*/ 261 h 275"/>
                <a:gd name="T24" fmla="*/ 144 w 200"/>
                <a:gd name="T25" fmla="*/ 272 h 275"/>
                <a:gd name="T26" fmla="*/ 131 w 200"/>
                <a:gd name="T27" fmla="*/ 274 h 275"/>
                <a:gd name="T28" fmla="*/ 118 w 200"/>
                <a:gd name="T29" fmla="*/ 275 h 275"/>
                <a:gd name="T30" fmla="*/ 99 w 200"/>
                <a:gd name="T31" fmla="*/ 273 h 275"/>
                <a:gd name="T32" fmla="*/ 79 w 200"/>
                <a:gd name="T33" fmla="*/ 266 h 275"/>
                <a:gd name="T34" fmla="*/ 63 w 200"/>
                <a:gd name="T35" fmla="*/ 253 h 275"/>
                <a:gd name="T36" fmla="*/ 50 w 200"/>
                <a:gd name="T37" fmla="*/ 238 h 275"/>
                <a:gd name="T38" fmla="*/ 41 w 200"/>
                <a:gd name="T39" fmla="*/ 219 h 275"/>
                <a:gd name="T40" fmla="*/ 5 w 200"/>
                <a:gd name="T41" fmla="*/ 108 h 275"/>
                <a:gd name="T42" fmla="*/ 0 w 200"/>
                <a:gd name="T43" fmla="*/ 86 h 275"/>
                <a:gd name="T44" fmla="*/ 3 w 200"/>
                <a:gd name="T45" fmla="*/ 65 h 275"/>
                <a:gd name="T46" fmla="*/ 10 w 200"/>
                <a:gd name="T47" fmla="*/ 45 h 275"/>
                <a:gd name="T48" fmla="*/ 21 w 200"/>
                <a:gd name="T49" fmla="*/ 28 h 275"/>
                <a:gd name="T50" fmla="*/ 37 w 200"/>
                <a:gd name="T51" fmla="*/ 14 h 275"/>
                <a:gd name="T52" fmla="*/ 57 w 200"/>
                <a:gd name="T53" fmla="*/ 5 h 275"/>
                <a:gd name="T54" fmla="*/ 79 w 200"/>
                <a:gd name="T55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00" h="275">
                  <a:moveTo>
                    <a:pt x="79" y="0"/>
                  </a:moveTo>
                  <a:lnTo>
                    <a:pt x="100" y="3"/>
                  </a:lnTo>
                  <a:lnTo>
                    <a:pt x="119" y="10"/>
                  </a:lnTo>
                  <a:lnTo>
                    <a:pt x="137" y="21"/>
                  </a:lnTo>
                  <a:lnTo>
                    <a:pt x="151" y="37"/>
                  </a:lnTo>
                  <a:lnTo>
                    <a:pt x="160" y="57"/>
                  </a:lnTo>
                  <a:lnTo>
                    <a:pt x="197" y="168"/>
                  </a:lnTo>
                  <a:lnTo>
                    <a:pt x="200" y="190"/>
                  </a:lnTo>
                  <a:lnTo>
                    <a:pt x="198" y="211"/>
                  </a:lnTo>
                  <a:lnTo>
                    <a:pt x="191" y="230"/>
                  </a:lnTo>
                  <a:lnTo>
                    <a:pt x="179" y="248"/>
                  </a:lnTo>
                  <a:lnTo>
                    <a:pt x="163" y="261"/>
                  </a:lnTo>
                  <a:lnTo>
                    <a:pt x="144" y="272"/>
                  </a:lnTo>
                  <a:lnTo>
                    <a:pt x="131" y="274"/>
                  </a:lnTo>
                  <a:lnTo>
                    <a:pt x="118" y="275"/>
                  </a:lnTo>
                  <a:lnTo>
                    <a:pt x="99" y="273"/>
                  </a:lnTo>
                  <a:lnTo>
                    <a:pt x="79" y="266"/>
                  </a:lnTo>
                  <a:lnTo>
                    <a:pt x="63" y="253"/>
                  </a:lnTo>
                  <a:lnTo>
                    <a:pt x="50" y="238"/>
                  </a:lnTo>
                  <a:lnTo>
                    <a:pt x="41" y="219"/>
                  </a:lnTo>
                  <a:lnTo>
                    <a:pt x="5" y="108"/>
                  </a:lnTo>
                  <a:lnTo>
                    <a:pt x="0" y="86"/>
                  </a:lnTo>
                  <a:lnTo>
                    <a:pt x="3" y="65"/>
                  </a:lnTo>
                  <a:lnTo>
                    <a:pt x="10" y="45"/>
                  </a:lnTo>
                  <a:lnTo>
                    <a:pt x="21" y="28"/>
                  </a:lnTo>
                  <a:lnTo>
                    <a:pt x="37" y="14"/>
                  </a:lnTo>
                  <a:lnTo>
                    <a:pt x="57" y="5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07" name="Freeform 28"/>
            <p:cNvSpPr>
              <a:spLocks/>
            </p:cNvSpPr>
            <p:nvPr/>
          </p:nvSpPr>
          <p:spPr bwMode="auto">
            <a:xfrm>
              <a:off x="1301800" y="2026172"/>
              <a:ext cx="14472" cy="17026"/>
            </a:xfrm>
            <a:custGeom>
              <a:avLst/>
              <a:gdLst>
                <a:gd name="T0" fmla="*/ 102 w 202"/>
                <a:gd name="T1" fmla="*/ 0 h 239"/>
                <a:gd name="T2" fmla="*/ 124 w 202"/>
                <a:gd name="T3" fmla="*/ 2 h 239"/>
                <a:gd name="T4" fmla="*/ 143 w 202"/>
                <a:gd name="T5" fmla="*/ 9 h 239"/>
                <a:gd name="T6" fmla="*/ 161 w 202"/>
                <a:gd name="T7" fmla="*/ 21 h 239"/>
                <a:gd name="T8" fmla="*/ 175 w 202"/>
                <a:gd name="T9" fmla="*/ 37 h 239"/>
                <a:gd name="T10" fmla="*/ 184 w 202"/>
                <a:gd name="T11" fmla="*/ 57 h 239"/>
                <a:gd name="T12" fmla="*/ 199 w 202"/>
                <a:gd name="T13" fmla="*/ 104 h 239"/>
                <a:gd name="T14" fmla="*/ 202 w 202"/>
                <a:gd name="T15" fmla="*/ 124 h 239"/>
                <a:gd name="T16" fmla="*/ 201 w 202"/>
                <a:gd name="T17" fmla="*/ 144 h 239"/>
                <a:gd name="T18" fmla="*/ 195 w 202"/>
                <a:gd name="T19" fmla="*/ 164 h 239"/>
                <a:gd name="T20" fmla="*/ 184 w 202"/>
                <a:gd name="T21" fmla="*/ 181 h 239"/>
                <a:gd name="T22" fmla="*/ 169 w 202"/>
                <a:gd name="T23" fmla="*/ 195 h 239"/>
                <a:gd name="T24" fmla="*/ 130 w 202"/>
                <a:gd name="T25" fmla="*/ 224 h 239"/>
                <a:gd name="T26" fmla="*/ 115 w 202"/>
                <a:gd name="T27" fmla="*/ 233 h 239"/>
                <a:gd name="T28" fmla="*/ 98 w 202"/>
                <a:gd name="T29" fmla="*/ 238 h 239"/>
                <a:gd name="T30" fmla="*/ 81 w 202"/>
                <a:gd name="T31" fmla="*/ 239 h 239"/>
                <a:gd name="T32" fmla="*/ 63 w 202"/>
                <a:gd name="T33" fmla="*/ 238 h 239"/>
                <a:gd name="T34" fmla="*/ 45 w 202"/>
                <a:gd name="T35" fmla="*/ 231 h 239"/>
                <a:gd name="T36" fmla="*/ 29 w 202"/>
                <a:gd name="T37" fmla="*/ 221 h 239"/>
                <a:gd name="T38" fmla="*/ 15 w 202"/>
                <a:gd name="T39" fmla="*/ 206 h 239"/>
                <a:gd name="T40" fmla="*/ 5 w 202"/>
                <a:gd name="T41" fmla="*/ 188 h 239"/>
                <a:gd name="T42" fmla="*/ 0 w 202"/>
                <a:gd name="T43" fmla="*/ 169 h 239"/>
                <a:gd name="T44" fmla="*/ 0 w 202"/>
                <a:gd name="T45" fmla="*/ 150 h 239"/>
                <a:gd name="T46" fmla="*/ 4 w 202"/>
                <a:gd name="T47" fmla="*/ 131 h 239"/>
                <a:gd name="T48" fmla="*/ 13 w 202"/>
                <a:gd name="T49" fmla="*/ 113 h 239"/>
                <a:gd name="T50" fmla="*/ 26 w 202"/>
                <a:gd name="T51" fmla="*/ 98 h 239"/>
                <a:gd name="T52" fmla="*/ 25 w 202"/>
                <a:gd name="T53" fmla="*/ 79 h 239"/>
                <a:gd name="T54" fmla="*/ 28 w 202"/>
                <a:gd name="T55" fmla="*/ 59 h 239"/>
                <a:gd name="T56" fmla="*/ 35 w 202"/>
                <a:gd name="T57" fmla="*/ 42 h 239"/>
                <a:gd name="T58" fmla="*/ 46 w 202"/>
                <a:gd name="T59" fmla="*/ 25 h 239"/>
                <a:gd name="T60" fmla="*/ 63 w 202"/>
                <a:gd name="T61" fmla="*/ 13 h 239"/>
                <a:gd name="T62" fmla="*/ 81 w 202"/>
                <a:gd name="T63" fmla="*/ 5 h 239"/>
                <a:gd name="T64" fmla="*/ 102 w 202"/>
                <a:gd name="T6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2" h="239">
                  <a:moveTo>
                    <a:pt x="102" y="0"/>
                  </a:moveTo>
                  <a:lnTo>
                    <a:pt x="124" y="2"/>
                  </a:lnTo>
                  <a:lnTo>
                    <a:pt x="143" y="9"/>
                  </a:lnTo>
                  <a:lnTo>
                    <a:pt x="161" y="21"/>
                  </a:lnTo>
                  <a:lnTo>
                    <a:pt x="175" y="37"/>
                  </a:lnTo>
                  <a:lnTo>
                    <a:pt x="184" y="57"/>
                  </a:lnTo>
                  <a:lnTo>
                    <a:pt x="199" y="104"/>
                  </a:lnTo>
                  <a:lnTo>
                    <a:pt x="202" y="124"/>
                  </a:lnTo>
                  <a:lnTo>
                    <a:pt x="201" y="144"/>
                  </a:lnTo>
                  <a:lnTo>
                    <a:pt x="195" y="164"/>
                  </a:lnTo>
                  <a:lnTo>
                    <a:pt x="184" y="181"/>
                  </a:lnTo>
                  <a:lnTo>
                    <a:pt x="169" y="195"/>
                  </a:lnTo>
                  <a:lnTo>
                    <a:pt x="130" y="224"/>
                  </a:lnTo>
                  <a:lnTo>
                    <a:pt x="115" y="233"/>
                  </a:lnTo>
                  <a:lnTo>
                    <a:pt x="98" y="238"/>
                  </a:lnTo>
                  <a:lnTo>
                    <a:pt x="81" y="239"/>
                  </a:lnTo>
                  <a:lnTo>
                    <a:pt x="63" y="238"/>
                  </a:lnTo>
                  <a:lnTo>
                    <a:pt x="45" y="231"/>
                  </a:lnTo>
                  <a:lnTo>
                    <a:pt x="29" y="221"/>
                  </a:lnTo>
                  <a:lnTo>
                    <a:pt x="15" y="206"/>
                  </a:lnTo>
                  <a:lnTo>
                    <a:pt x="5" y="188"/>
                  </a:lnTo>
                  <a:lnTo>
                    <a:pt x="0" y="169"/>
                  </a:lnTo>
                  <a:lnTo>
                    <a:pt x="0" y="150"/>
                  </a:lnTo>
                  <a:lnTo>
                    <a:pt x="4" y="131"/>
                  </a:lnTo>
                  <a:lnTo>
                    <a:pt x="13" y="113"/>
                  </a:lnTo>
                  <a:lnTo>
                    <a:pt x="26" y="98"/>
                  </a:lnTo>
                  <a:lnTo>
                    <a:pt x="25" y="79"/>
                  </a:lnTo>
                  <a:lnTo>
                    <a:pt x="28" y="59"/>
                  </a:lnTo>
                  <a:lnTo>
                    <a:pt x="35" y="42"/>
                  </a:lnTo>
                  <a:lnTo>
                    <a:pt x="46" y="25"/>
                  </a:lnTo>
                  <a:lnTo>
                    <a:pt x="63" y="13"/>
                  </a:lnTo>
                  <a:lnTo>
                    <a:pt x="81" y="5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08" name="Freeform 29"/>
            <p:cNvSpPr>
              <a:spLocks/>
            </p:cNvSpPr>
            <p:nvPr/>
          </p:nvSpPr>
          <p:spPr bwMode="auto">
            <a:xfrm>
              <a:off x="1272855" y="2048023"/>
              <a:ext cx="18161" cy="16459"/>
            </a:xfrm>
            <a:custGeom>
              <a:avLst/>
              <a:gdLst>
                <a:gd name="T0" fmla="*/ 168 w 258"/>
                <a:gd name="T1" fmla="*/ 0 h 231"/>
                <a:gd name="T2" fmla="*/ 188 w 258"/>
                <a:gd name="T3" fmla="*/ 0 h 231"/>
                <a:gd name="T4" fmla="*/ 209 w 258"/>
                <a:gd name="T5" fmla="*/ 6 h 231"/>
                <a:gd name="T6" fmla="*/ 227 w 258"/>
                <a:gd name="T7" fmla="*/ 17 h 231"/>
                <a:gd name="T8" fmla="*/ 242 w 258"/>
                <a:gd name="T9" fmla="*/ 33 h 231"/>
                <a:gd name="T10" fmla="*/ 252 w 258"/>
                <a:gd name="T11" fmla="*/ 52 h 231"/>
                <a:gd name="T12" fmla="*/ 258 w 258"/>
                <a:gd name="T13" fmla="*/ 73 h 231"/>
                <a:gd name="T14" fmla="*/ 257 w 258"/>
                <a:gd name="T15" fmla="*/ 94 h 231"/>
                <a:gd name="T16" fmla="*/ 251 w 258"/>
                <a:gd name="T17" fmla="*/ 113 h 231"/>
                <a:gd name="T18" fmla="*/ 240 w 258"/>
                <a:gd name="T19" fmla="*/ 132 h 231"/>
                <a:gd name="T20" fmla="*/ 224 w 258"/>
                <a:gd name="T21" fmla="*/ 147 h 231"/>
                <a:gd name="T22" fmla="*/ 130 w 258"/>
                <a:gd name="T23" fmla="*/ 216 h 231"/>
                <a:gd name="T24" fmla="*/ 115 w 258"/>
                <a:gd name="T25" fmla="*/ 224 h 231"/>
                <a:gd name="T26" fmla="*/ 98 w 258"/>
                <a:gd name="T27" fmla="*/ 230 h 231"/>
                <a:gd name="T28" fmla="*/ 81 w 258"/>
                <a:gd name="T29" fmla="*/ 231 h 231"/>
                <a:gd name="T30" fmla="*/ 63 w 258"/>
                <a:gd name="T31" fmla="*/ 229 h 231"/>
                <a:gd name="T32" fmla="*/ 45 w 258"/>
                <a:gd name="T33" fmla="*/ 223 h 231"/>
                <a:gd name="T34" fmla="*/ 29 w 258"/>
                <a:gd name="T35" fmla="*/ 213 h 231"/>
                <a:gd name="T36" fmla="*/ 15 w 258"/>
                <a:gd name="T37" fmla="*/ 198 h 231"/>
                <a:gd name="T38" fmla="*/ 5 w 258"/>
                <a:gd name="T39" fmla="*/ 178 h 231"/>
                <a:gd name="T40" fmla="*/ 0 w 258"/>
                <a:gd name="T41" fmla="*/ 158 h 231"/>
                <a:gd name="T42" fmla="*/ 0 w 258"/>
                <a:gd name="T43" fmla="*/ 136 h 231"/>
                <a:gd name="T44" fmla="*/ 6 w 258"/>
                <a:gd name="T45" fmla="*/ 117 h 231"/>
                <a:gd name="T46" fmla="*/ 17 w 258"/>
                <a:gd name="T47" fmla="*/ 98 h 231"/>
                <a:gd name="T48" fmla="*/ 34 w 258"/>
                <a:gd name="T49" fmla="*/ 83 h 231"/>
                <a:gd name="T50" fmla="*/ 128 w 258"/>
                <a:gd name="T51" fmla="*/ 15 h 231"/>
                <a:gd name="T52" fmla="*/ 147 w 258"/>
                <a:gd name="T53" fmla="*/ 5 h 231"/>
                <a:gd name="T54" fmla="*/ 168 w 258"/>
                <a:gd name="T55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8" h="231">
                  <a:moveTo>
                    <a:pt x="168" y="0"/>
                  </a:moveTo>
                  <a:lnTo>
                    <a:pt x="188" y="0"/>
                  </a:lnTo>
                  <a:lnTo>
                    <a:pt x="209" y="6"/>
                  </a:lnTo>
                  <a:lnTo>
                    <a:pt x="227" y="17"/>
                  </a:lnTo>
                  <a:lnTo>
                    <a:pt x="242" y="33"/>
                  </a:lnTo>
                  <a:lnTo>
                    <a:pt x="252" y="52"/>
                  </a:lnTo>
                  <a:lnTo>
                    <a:pt x="258" y="73"/>
                  </a:lnTo>
                  <a:lnTo>
                    <a:pt x="257" y="94"/>
                  </a:lnTo>
                  <a:lnTo>
                    <a:pt x="251" y="113"/>
                  </a:lnTo>
                  <a:lnTo>
                    <a:pt x="240" y="132"/>
                  </a:lnTo>
                  <a:lnTo>
                    <a:pt x="224" y="147"/>
                  </a:lnTo>
                  <a:lnTo>
                    <a:pt x="130" y="216"/>
                  </a:lnTo>
                  <a:lnTo>
                    <a:pt x="115" y="224"/>
                  </a:lnTo>
                  <a:lnTo>
                    <a:pt x="98" y="230"/>
                  </a:lnTo>
                  <a:lnTo>
                    <a:pt x="81" y="231"/>
                  </a:lnTo>
                  <a:lnTo>
                    <a:pt x="63" y="229"/>
                  </a:lnTo>
                  <a:lnTo>
                    <a:pt x="45" y="223"/>
                  </a:lnTo>
                  <a:lnTo>
                    <a:pt x="29" y="213"/>
                  </a:lnTo>
                  <a:lnTo>
                    <a:pt x="15" y="198"/>
                  </a:lnTo>
                  <a:lnTo>
                    <a:pt x="5" y="178"/>
                  </a:lnTo>
                  <a:lnTo>
                    <a:pt x="0" y="158"/>
                  </a:lnTo>
                  <a:lnTo>
                    <a:pt x="0" y="136"/>
                  </a:lnTo>
                  <a:lnTo>
                    <a:pt x="6" y="117"/>
                  </a:lnTo>
                  <a:lnTo>
                    <a:pt x="17" y="98"/>
                  </a:lnTo>
                  <a:lnTo>
                    <a:pt x="34" y="83"/>
                  </a:lnTo>
                  <a:lnTo>
                    <a:pt x="128" y="15"/>
                  </a:lnTo>
                  <a:lnTo>
                    <a:pt x="147" y="5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09" name="Freeform 30"/>
            <p:cNvSpPr>
              <a:spLocks/>
            </p:cNvSpPr>
            <p:nvPr/>
          </p:nvSpPr>
          <p:spPr bwMode="auto">
            <a:xfrm>
              <a:off x="1244762" y="2069022"/>
              <a:ext cx="17026" cy="13621"/>
            </a:xfrm>
            <a:custGeom>
              <a:avLst/>
              <a:gdLst>
                <a:gd name="T0" fmla="*/ 160 w 243"/>
                <a:gd name="T1" fmla="*/ 0 h 193"/>
                <a:gd name="T2" fmla="*/ 178 w 243"/>
                <a:gd name="T3" fmla="*/ 2 h 193"/>
                <a:gd name="T4" fmla="*/ 196 w 243"/>
                <a:gd name="T5" fmla="*/ 8 h 193"/>
                <a:gd name="T6" fmla="*/ 213 w 243"/>
                <a:gd name="T7" fmla="*/ 19 h 193"/>
                <a:gd name="T8" fmla="*/ 228 w 243"/>
                <a:gd name="T9" fmla="*/ 34 h 193"/>
                <a:gd name="T10" fmla="*/ 238 w 243"/>
                <a:gd name="T11" fmla="*/ 53 h 193"/>
                <a:gd name="T12" fmla="*/ 243 w 243"/>
                <a:gd name="T13" fmla="*/ 74 h 193"/>
                <a:gd name="T14" fmla="*/ 242 w 243"/>
                <a:gd name="T15" fmla="*/ 95 h 193"/>
                <a:gd name="T16" fmla="*/ 236 w 243"/>
                <a:gd name="T17" fmla="*/ 114 h 193"/>
                <a:gd name="T18" fmla="*/ 225 w 243"/>
                <a:gd name="T19" fmla="*/ 133 h 193"/>
                <a:gd name="T20" fmla="*/ 209 w 243"/>
                <a:gd name="T21" fmla="*/ 148 h 193"/>
                <a:gd name="T22" fmla="*/ 169 w 243"/>
                <a:gd name="T23" fmla="*/ 177 h 193"/>
                <a:gd name="T24" fmla="*/ 154 w 243"/>
                <a:gd name="T25" fmla="*/ 186 h 193"/>
                <a:gd name="T26" fmla="*/ 138 w 243"/>
                <a:gd name="T27" fmla="*/ 191 h 193"/>
                <a:gd name="T28" fmla="*/ 121 w 243"/>
                <a:gd name="T29" fmla="*/ 193 h 193"/>
                <a:gd name="T30" fmla="*/ 104 w 243"/>
                <a:gd name="T31" fmla="*/ 191 h 193"/>
                <a:gd name="T32" fmla="*/ 88 w 243"/>
                <a:gd name="T33" fmla="*/ 186 h 193"/>
                <a:gd name="T34" fmla="*/ 73 w 243"/>
                <a:gd name="T35" fmla="*/ 177 h 193"/>
                <a:gd name="T36" fmla="*/ 34 w 243"/>
                <a:gd name="T37" fmla="*/ 148 h 193"/>
                <a:gd name="T38" fmla="*/ 17 w 243"/>
                <a:gd name="T39" fmla="*/ 133 h 193"/>
                <a:gd name="T40" fmla="*/ 7 w 243"/>
                <a:gd name="T41" fmla="*/ 114 h 193"/>
                <a:gd name="T42" fmla="*/ 0 w 243"/>
                <a:gd name="T43" fmla="*/ 95 h 193"/>
                <a:gd name="T44" fmla="*/ 0 w 243"/>
                <a:gd name="T45" fmla="*/ 74 h 193"/>
                <a:gd name="T46" fmla="*/ 5 w 243"/>
                <a:gd name="T47" fmla="*/ 53 h 193"/>
                <a:gd name="T48" fmla="*/ 15 w 243"/>
                <a:gd name="T49" fmla="*/ 34 h 193"/>
                <a:gd name="T50" fmla="*/ 29 w 243"/>
                <a:gd name="T51" fmla="*/ 19 h 193"/>
                <a:gd name="T52" fmla="*/ 46 w 243"/>
                <a:gd name="T53" fmla="*/ 8 h 193"/>
                <a:gd name="T54" fmla="*/ 64 w 243"/>
                <a:gd name="T55" fmla="*/ 2 h 193"/>
                <a:gd name="T56" fmla="*/ 83 w 243"/>
                <a:gd name="T57" fmla="*/ 0 h 193"/>
                <a:gd name="T58" fmla="*/ 103 w 243"/>
                <a:gd name="T59" fmla="*/ 2 h 193"/>
                <a:gd name="T60" fmla="*/ 121 w 243"/>
                <a:gd name="T61" fmla="*/ 10 h 193"/>
                <a:gd name="T62" fmla="*/ 140 w 243"/>
                <a:gd name="T63" fmla="*/ 2 h 193"/>
                <a:gd name="T64" fmla="*/ 160 w 243"/>
                <a:gd name="T6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3" h="193">
                  <a:moveTo>
                    <a:pt x="160" y="0"/>
                  </a:moveTo>
                  <a:lnTo>
                    <a:pt x="178" y="2"/>
                  </a:lnTo>
                  <a:lnTo>
                    <a:pt x="196" y="8"/>
                  </a:lnTo>
                  <a:lnTo>
                    <a:pt x="213" y="19"/>
                  </a:lnTo>
                  <a:lnTo>
                    <a:pt x="228" y="34"/>
                  </a:lnTo>
                  <a:lnTo>
                    <a:pt x="238" y="53"/>
                  </a:lnTo>
                  <a:lnTo>
                    <a:pt x="243" y="74"/>
                  </a:lnTo>
                  <a:lnTo>
                    <a:pt x="242" y="95"/>
                  </a:lnTo>
                  <a:lnTo>
                    <a:pt x="236" y="114"/>
                  </a:lnTo>
                  <a:lnTo>
                    <a:pt x="225" y="133"/>
                  </a:lnTo>
                  <a:lnTo>
                    <a:pt x="209" y="148"/>
                  </a:lnTo>
                  <a:lnTo>
                    <a:pt x="169" y="177"/>
                  </a:lnTo>
                  <a:lnTo>
                    <a:pt x="154" y="186"/>
                  </a:lnTo>
                  <a:lnTo>
                    <a:pt x="138" y="191"/>
                  </a:lnTo>
                  <a:lnTo>
                    <a:pt x="121" y="193"/>
                  </a:lnTo>
                  <a:lnTo>
                    <a:pt x="104" y="191"/>
                  </a:lnTo>
                  <a:lnTo>
                    <a:pt x="88" y="186"/>
                  </a:lnTo>
                  <a:lnTo>
                    <a:pt x="73" y="177"/>
                  </a:lnTo>
                  <a:lnTo>
                    <a:pt x="34" y="148"/>
                  </a:lnTo>
                  <a:lnTo>
                    <a:pt x="17" y="133"/>
                  </a:lnTo>
                  <a:lnTo>
                    <a:pt x="7" y="114"/>
                  </a:lnTo>
                  <a:lnTo>
                    <a:pt x="0" y="95"/>
                  </a:lnTo>
                  <a:lnTo>
                    <a:pt x="0" y="74"/>
                  </a:lnTo>
                  <a:lnTo>
                    <a:pt x="5" y="53"/>
                  </a:lnTo>
                  <a:lnTo>
                    <a:pt x="15" y="34"/>
                  </a:lnTo>
                  <a:lnTo>
                    <a:pt x="29" y="19"/>
                  </a:lnTo>
                  <a:lnTo>
                    <a:pt x="46" y="8"/>
                  </a:lnTo>
                  <a:lnTo>
                    <a:pt x="64" y="2"/>
                  </a:lnTo>
                  <a:lnTo>
                    <a:pt x="83" y="0"/>
                  </a:lnTo>
                  <a:lnTo>
                    <a:pt x="103" y="2"/>
                  </a:lnTo>
                  <a:lnTo>
                    <a:pt x="121" y="10"/>
                  </a:lnTo>
                  <a:lnTo>
                    <a:pt x="140" y="2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10" name="Freeform 31"/>
            <p:cNvSpPr>
              <a:spLocks/>
            </p:cNvSpPr>
            <p:nvPr/>
          </p:nvSpPr>
          <p:spPr bwMode="auto">
            <a:xfrm>
              <a:off x="1215534" y="2048023"/>
              <a:ext cx="18445" cy="16459"/>
            </a:xfrm>
            <a:custGeom>
              <a:avLst/>
              <a:gdLst>
                <a:gd name="T0" fmla="*/ 90 w 258"/>
                <a:gd name="T1" fmla="*/ 0 h 231"/>
                <a:gd name="T2" fmla="*/ 110 w 258"/>
                <a:gd name="T3" fmla="*/ 5 h 231"/>
                <a:gd name="T4" fmla="*/ 129 w 258"/>
                <a:gd name="T5" fmla="*/ 15 h 231"/>
                <a:gd name="T6" fmla="*/ 224 w 258"/>
                <a:gd name="T7" fmla="*/ 83 h 231"/>
                <a:gd name="T8" fmla="*/ 240 w 258"/>
                <a:gd name="T9" fmla="*/ 98 h 231"/>
                <a:gd name="T10" fmla="*/ 251 w 258"/>
                <a:gd name="T11" fmla="*/ 117 h 231"/>
                <a:gd name="T12" fmla="*/ 256 w 258"/>
                <a:gd name="T13" fmla="*/ 136 h 231"/>
                <a:gd name="T14" fmla="*/ 258 w 258"/>
                <a:gd name="T15" fmla="*/ 158 h 231"/>
                <a:gd name="T16" fmla="*/ 253 w 258"/>
                <a:gd name="T17" fmla="*/ 178 h 231"/>
                <a:gd name="T18" fmla="*/ 243 w 258"/>
                <a:gd name="T19" fmla="*/ 198 h 231"/>
                <a:gd name="T20" fmla="*/ 229 w 258"/>
                <a:gd name="T21" fmla="*/ 213 h 231"/>
                <a:gd name="T22" fmla="*/ 213 w 258"/>
                <a:gd name="T23" fmla="*/ 223 h 231"/>
                <a:gd name="T24" fmla="*/ 195 w 258"/>
                <a:gd name="T25" fmla="*/ 229 h 231"/>
                <a:gd name="T26" fmla="*/ 176 w 258"/>
                <a:gd name="T27" fmla="*/ 231 h 231"/>
                <a:gd name="T28" fmla="*/ 159 w 258"/>
                <a:gd name="T29" fmla="*/ 230 h 231"/>
                <a:gd name="T30" fmla="*/ 143 w 258"/>
                <a:gd name="T31" fmla="*/ 224 h 231"/>
                <a:gd name="T32" fmla="*/ 128 w 258"/>
                <a:gd name="T33" fmla="*/ 216 h 231"/>
                <a:gd name="T34" fmla="*/ 34 w 258"/>
                <a:gd name="T35" fmla="*/ 147 h 231"/>
                <a:gd name="T36" fmla="*/ 17 w 258"/>
                <a:gd name="T37" fmla="*/ 132 h 231"/>
                <a:gd name="T38" fmla="*/ 7 w 258"/>
                <a:gd name="T39" fmla="*/ 113 h 231"/>
                <a:gd name="T40" fmla="*/ 1 w 258"/>
                <a:gd name="T41" fmla="*/ 94 h 231"/>
                <a:gd name="T42" fmla="*/ 0 w 258"/>
                <a:gd name="T43" fmla="*/ 73 h 231"/>
                <a:gd name="T44" fmla="*/ 5 w 258"/>
                <a:gd name="T45" fmla="*/ 52 h 231"/>
                <a:gd name="T46" fmla="*/ 15 w 258"/>
                <a:gd name="T47" fmla="*/ 33 h 231"/>
                <a:gd name="T48" fmla="*/ 30 w 258"/>
                <a:gd name="T49" fmla="*/ 17 h 231"/>
                <a:gd name="T50" fmla="*/ 49 w 258"/>
                <a:gd name="T51" fmla="*/ 6 h 231"/>
                <a:gd name="T52" fmla="*/ 68 w 258"/>
                <a:gd name="T53" fmla="*/ 0 h 231"/>
                <a:gd name="T54" fmla="*/ 90 w 258"/>
                <a:gd name="T55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8" h="231">
                  <a:moveTo>
                    <a:pt x="90" y="0"/>
                  </a:moveTo>
                  <a:lnTo>
                    <a:pt x="110" y="5"/>
                  </a:lnTo>
                  <a:lnTo>
                    <a:pt x="129" y="15"/>
                  </a:lnTo>
                  <a:lnTo>
                    <a:pt x="224" y="83"/>
                  </a:lnTo>
                  <a:lnTo>
                    <a:pt x="240" y="98"/>
                  </a:lnTo>
                  <a:lnTo>
                    <a:pt x="251" y="117"/>
                  </a:lnTo>
                  <a:lnTo>
                    <a:pt x="256" y="136"/>
                  </a:lnTo>
                  <a:lnTo>
                    <a:pt x="258" y="158"/>
                  </a:lnTo>
                  <a:lnTo>
                    <a:pt x="253" y="178"/>
                  </a:lnTo>
                  <a:lnTo>
                    <a:pt x="243" y="198"/>
                  </a:lnTo>
                  <a:lnTo>
                    <a:pt x="229" y="213"/>
                  </a:lnTo>
                  <a:lnTo>
                    <a:pt x="213" y="223"/>
                  </a:lnTo>
                  <a:lnTo>
                    <a:pt x="195" y="229"/>
                  </a:lnTo>
                  <a:lnTo>
                    <a:pt x="176" y="231"/>
                  </a:lnTo>
                  <a:lnTo>
                    <a:pt x="159" y="230"/>
                  </a:lnTo>
                  <a:lnTo>
                    <a:pt x="143" y="224"/>
                  </a:lnTo>
                  <a:lnTo>
                    <a:pt x="128" y="216"/>
                  </a:lnTo>
                  <a:lnTo>
                    <a:pt x="34" y="147"/>
                  </a:lnTo>
                  <a:lnTo>
                    <a:pt x="17" y="132"/>
                  </a:lnTo>
                  <a:lnTo>
                    <a:pt x="7" y="113"/>
                  </a:lnTo>
                  <a:lnTo>
                    <a:pt x="1" y="94"/>
                  </a:lnTo>
                  <a:lnTo>
                    <a:pt x="0" y="73"/>
                  </a:lnTo>
                  <a:lnTo>
                    <a:pt x="5" y="52"/>
                  </a:lnTo>
                  <a:lnTo>
                    <a:pt x="15" y="33"/>
                  </a:lnTo>
                  <a:lnTo>
                    <a:pt x="30" y="17"/>
                  </a:lnTo>
                  <a:lnTo>
                    <a:pt x="49" y="6"/>
                  </a:lnTo>
                  <a:lnTo>
                    <a:pt x="68" y="0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11" name="Freeform 32"/>
            <p:cNvSpPr>
              <a:spLocks noEditPoints="1"/>
            </p:cNvSpPr>
            <p:nvPr/>
          </p:nvSpPr>
          <p:spPr bwMode="auto">
            <a:xfrm>
              <a:off x="1117349" y="1890245"/>
              <a:ext cx="269866" cy="262206"/>
            </a:xfrm>
            <a:custGeom>
              <a:avLst/>
              <a:gdLst>
                <a:gd name="T0" fmla="*/ 1444 w 3804"/>
                <a:gd name="T1" fmla="*/ 3273 h 3698"/>
                <a:gd name="T2" fmla="*/ 1622 w 3804"/>
                <a:gd name="T3" fmla="*/ 3531 h 3698"/>
                <a:gd name="T4" fmla="*/ 1879 w 3804"/>
                <a:gd name="T5" fmla="*/ 3353 h 3698"/>
                <a:gd name="T6" fmla="*/ 1702 w 3804"/>
                <a:gd name="T7" fmla="*/ 3094 h 3698"/>
                <a:gd name="T8" fmla="*/ 3085 w 3804"/>
                <a:gd name="T9" fmla="*/ 2413 h 3698"/>
                <a:gd name="T10" fmla="*/ 3216 w 3804"/>
                <a:gd name="T11" fmla="*/ 2699 h 3698"/>
                <a:gd name="T12" fmla="*/ 3501 w 3804"/>
                <a:gd name="T13" fmla="*/ 2568 h 3698"/>
                <a:gd name="T14" fmla="*/ 3371 w 3804"/>
                <a:gd name="T15" fmla="*/ 2283 h 3698"/>
                <a:gd name="T16" fmla="*/ 194 w 3804"/>
                <a:gd name="T17" fmla="*/ 1918 h 3698"/>
                <a:gd name="T18" fmla="*/ 274 w 3804"/>
                <a:gd name="T19" fmla="*/ 2222 h 3698"/>
                <a:gd name="T20" fmla="*/ 576 w 3804"/>
                <a:gd name="T21" fmla="*/ 2142 h 3698"/>
                <a:gd name="T22" fmla="*/ 497 w 3804"/>
                <a:gd name="T23" fmla="*/ 1838 h 3698"/>
                <a:gd name="T24" fmla="*/ 1477 w 3804"/>
                <a:gd name="T25" fmla="*/ 689 h 3698"/>
                <a:gd name="T26" fmla="*/ 1100 w 3804"/>
                <a:gd name="T27" fmla="*/ 773 h 3698"/>
                <a:gd name="T28" fmla="*/ 1027 w 3804"/>
                <a:gd name="T29" fmla="*/ 1031 h 3698"/>
                <a:gd name="T30" fmla="*/ 621 w 3804"/>
                <a:gd name="T31" fmla="*/ 1725 h 3698"/>
                <a:gd name="T32" fmla="*/ 760 w 3804"/>
                <a:gd name="T33" fmla="*/ 2118 h 3698"/>
                <a:gd name="T34" fmla="*/ 944 w 3804"/>
                <a:gd name="T35" fmla="*/ 2286 h 3698"/>
                <a:gd name="T36" fmla="*/ 1408 w 3804"/>
                <a:gd name="T37" fmla="*/ 3022 h 3698"/>
                <a:gd name="T38" fmla="*/ 1801 w 3804"/>
                <a:gd name="T39" fmla="*/ 2953 h 3698"/>
                <a:gd name="T40" fmla="*/ 2072 w 3804"/>
                <a:gd name="T41" fmla="*/ 2910 h 3698"/>
                <a:gd name="T42" fmla="*/ 2183 w 3804"/>
                <a:gd name="T43" fmla="*/ 3013 h 3698"/>
                <a:gd name="T44" fmla="*/ 2936 w 3804"/>
                <a:gd name="T45" fmla="*/ 2344 h 3698"/>
                <a:gd name="T46" fmla="*/ 3036 w 3804"/>
                <a:gd name="T47" fmla="*/ 2010 h 3698"/>
                <a:gd name="T48" fmla="*/ 3111 w 3804"/>
                <a:gd name="T49" fmla="*/ 1880 h 3698"/>
                <a:gd name="T50" fmla="*/ 2819 w 3804"/>
                <a:gd name="T51" fmla="*/ 1028 h 3698"/>
                <a:gd name="T52" fmla="*/ 2628 w 3804"/>
                <a:gd name="T53" fmla="*/ 696 h 3698"/>
                <a:gd name="T54" fmla="*/ 2369 w 3804"/>
                <a:gd name="T55" fmla="*/ 758 h 3698"/>
                <a:gd name="T56" fmla="*/ 2973 w 3804"/>
                <a:gd name="T57" fmla="*/ 477 h 3698"/>
                <a:gd name="T58" fmla="*/ 2795 w 3804"/>
                <a:gd name="T59" fmla="*/ 735 h 3698"/>
                <a:gd name="T60" fmla="*/ 3053 w 3804"/>
                <a:gd name="T61" fmla="*/ 914 h 3698"/>
                <a:gd name="T62" fmla="*/ 3231 w 3804"/>
                <a:gd name="T63" fmla="*/ 655 h 3698"/>
                <a:gd name="T64" fmla="*/ 1216 w 3804"/>
                <a:gd name="T65" fmla="*/ 184 h 3698"/>
                <a:gd name="T66" fmla="*/ 996 w 3804"/>
                <a:gd name="T67" fmla="*/ 406 h 3698"/>
                <a:gd name="T68" fmla="*/ 1216 w 3804"/>
                <a:gd name="T69" fmla="*/ 628 h 3698"/>
                <a:gd name="T70" fmla="*/ 1438 w 3804"/>
                <a:gd name="T71" fmla="*/ 406 h 3698"/>
                <a:gd name="T72" fmla="*/ 1216 w 3804"/>
                <a:gd name="T73" fmla="*/ 184 h 3698"/>
                <a:gd name="T74" fmla="*/ 3115 w 3804"/>
                <a:gd name="T75" fmla="*/ 324 h 3698"/>
                <a:gd name="T76" fmla="*/ 3395 w 3804"/>
                <a:gd name="T77" fmla="*/ 644 h 3698"/>
                <a:gd name="T78" fmla="*/ 3207 w 3804"/>
                <a:gd name="T79" fmla="*/ 1028 h 3698"/>
                <a:gd name="T80" fmla="*/ 3770 w 3804"/>
                <a:gd name="T81" fmla="*/ 1717 h 3698"/>
                <a:gd name="T82" fmla="*/ 3669 w 3804"/>
                <a:gd name="T83" fmla="*/ 2404 h 3698"/>
                <a:gd name="T84" fmla="*/ 3528 w 3804"/>
                <a:gd name="T85" fmla="*/ 2796 h 3698"/>
                <a:gd name="T86" fmla="*/ 3112 w 3804"/>
                <a:gd name="T87" fmla="*/ 2830 h 3698"/>
                <a:gd name="T88" fmla="*/ 2539 w 3804"/>
                <a:gd name="T89" fmla="*/ 3510 h 3698"/>
                <a:gd name="T90" fmla="*/ 1942 w 3804"/>
                <a:gd name="T91" fmla="*/ 3577 h 3698"/>
                <a:gd name="T92" fmla="*/ 1559 w 3804"/>
                <a:gd name="T93" fmla="*/ 3684 h 3698"/>
                <a:gd name="T94" fmla="*/ 1280 w 3804"/>
                <a:gd name="T95" fmla="*/ 3364 h 3698"/>
                <a:gd name="T96" fmla="*/ 585 w 3804"/>
                <a:gd name="T97" fmla="*/ 2863 h 3698"/>
                <a:gd name="T98" fmla="*/ 449 w 3804"/>
                <a:gd name="T99" fmla="*/ 2909 h 3698"/>
                <a:gd name="T100" fmla="*/ 47 w 3804"/>
                <a:gd name="T101" fmla="*/ 2215 h 3698"/>
                <a:gd name="T102" fmla="*/ 81 w 3804"/>
                <a:gd name="T103" fmla="*/ 1794 h 3698"/>
                <a:gd name="T104" fmla="*/ 768 w 3804"/>
                <a:gd name="T105" fmla="*/ 588 h 3698"/>
                <a:gd name="T106" fmla="*/ 351 w 3804"/>
                <a:gd name="T107" fmla="*/ 674 h 3698"/>
                <a:gd name="T108" fmla="*/ 898 w 3804"/>
                <a:gd name="T109" fmla="*/ 191 h 3698"/>
                <a:gd name="T110" fmla="*/ 1266 w 3804"/>
                <a:gd name="T111" fmla="*/ 23 h 3698"/>
                <a:gd name="T112" fmla="*/ 1580 w 3804"/>
                <a:gd name="T113" fmla="*/ 279 h 3698"/>
                <a:gd name="T114" fmla="*/ 2380 w 3804"/>
                <a:gd name="T115" fmla="*/ 33 h 3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804" h="3698">
                  <a:moveTo>
                    <a:pt x="1662" y="3090"/>
                  </a:moveTo>
                  <a:lnTo>
                    <a:pt x="1622" y="3094"/>
                  </a:lnTo>
                  <a:lnTo>
                    <a:pt x="1585" y="3104"/>
                  </a:lnTo>
                  <a:lnTo>
                    <a:pt x="1550" y="3120"/>
                  </a:lnTo>
                  <a:lnTo>
                    <a:pt x="1519" y="3142"/>
                  </a:lnTo>
                  <a:lnTo>
                    <a:pt x="1492" y="3170"/>
                  </a:lnTo>
                  <a:lnTo>
                    <a:pt x="1471" y="3200"/>
                  </a:lnTo>
                  <a:lnTo>
                    <a:pt x="1454" y="3235"/>
                  </a:lnTo>
                  <a:lnTo>
                    <a:pt x="1444" y="3273"/>
                  </a:lnTo>
                  <a:lnTo>
                    <a:pt x="1440" y="3312"/>
                  </a:lnTo>
                  <a:lnTo>
                    <a:pt x="1444" y="3353"/>
                  </a:lnTo>
                  <a:lnTo>
                    <a:pt x="1454" y="3390"/>
                  </a:lnTo>
                  <a:lnTo>
                    <a:pt x="1471" y="3424"/>
                  </a:lnTo>
                  <a:lnTo>
                    <a:pt x="1492" y="3455"/>
                  </a:lnTo>
                  <a:lnTo>
                    <a:pt x="1519" y="3482"/>
                  </a:lnTo>
                  <a:lnTo>
                    <a:pt x="1550" y="3504"/>
                  </a:lnTo>
                  <a:lnTo>
                    <a:pt x="1585" y="3520"/>
                  </a:lnTo>
                  <a:lnTo>
                    <a:pt x="1622" y="3531"/>
                  </a:lnTo>
                  <a:lnTo>
                    <a:pt x="1662" y="3534"/>
                  </a:lnTo>
                  <a:lnTo>
                    <a:pt x="1702" y="3531"/>
                  </a:lnTo>
                  <a:lnTo>
                    <a:pt x="1739" y="3520"/>
                  </a:lnTo>
                  <a:lnTo>
                    <a:pt x="1773" y="3504"/>
                  </a:lnTo>
                  <a:lnTo>
                    <a:pt x="1804" y="3482"/>
                  </a:lnTo>
                  <a:lnTo>
                    <a:pt x="1831" y="3455"/>
                  </a:lnTo>
                  <a:lnTo>
                    <a:pt x="1853" y="3424"/>
                  </a:lnTo>
                  <a:lnTo>
                    <a:pt x="1869" y="3390"/>
                  </a:lnTo>
                  <a:lnTo>
                    <a:pt x="1879" y="3353"/>
                  </a:lnTo>
                  <a:lnTo>
                    <a:pt x="1883" y="3312"/>
                  </a:lnTo>
                  <a:lnTo>
                    <a:pt x="1879" y="3273"/>
                  </a:lnTo>
                  <a:lnTo>
                    <a:pt x="1869" y="3235"/>
                  </a:lnTo>
                  <a:lnTo>
                    <a:pt x="1853" y="3200"/>
                  </a:lnTo>
                  <a:lnTo>
                    <a:pt x="1831" y="3170"/>
                  </a:lnTo>
                  <a:lnTo>
                    <a:pt x="1804" y="3142"/>
                  </a:lnTo>
                  <a:lnTo>
                    <a:pt x="1773" y="3120"/>
                  </a:lnTo>
                  <a:lnTo>
                    <a:pt x="1739" y="3104"/>
                  </a:lnTo>
                  <a:lnTo>
                    <a:pt x="1702" y="3094"/>
                  </a:lnTo>
                  <a:lnTo>
                    <a:pt x="1662" y="3090"/>
                  </a:lnTo>
                  <a:close/>
                  <a:moveTo>
                    <a:pt x="3293" y="2269"/>
                  </a:moveTo>
                  <a:lnTo>
                    <a:pt x="3253" y="2273"/>
                  </a:lnTo>
                  <a:lnTo>
                    <a:pt x="3216" y="2283"/>
                  </a:lnTo>
                  <a:lnTo>
                    <a:pt x="3181" y="2299"/>
                  </a:lnTo>
                  <a:lnTo>
                    <a:pt x="3150" y="2321"/>
                  </a:lnTo>
                  <a:lnTo>
                    <a:pt x="3124" y="2348"/>
                  </a:lnTo>
                  <a:lnTo>
                    <a:pt x="3102" y="2379"/>
                  </a:lnTo>
                  <a:lnTo>
                    <a:pt x="3085" y="2413"/>
                  </a:lnTo>
                  <a:lnTo>
                    <a:pt x="3075" y="2450"/>
                  </a:lnTo>
                  <a:lnTo>
                    <a:pt x="3072" y="2491"/>
                  </a:lnTo>
                  <a:lnTo>
                    <a:pt x="3075" y="2530"/>
                  </a:lnTo>
                  <a:lnTo>
                    <a:pt x="3085" y="2568"/>
                  </a:lnTo>
                  <a:lnTo>
                    <a:pt x="3102" y="2603"/>
                  </a:lnTo>
                  <a:lnTo>
                    <a:pt x="3124" y="2633"/>
                  </a:lnTo>
                  <a:lnTo>
                    <a:pt x="3150" y="2660"/>
                  </a:lnTo>
                  <a:lnTo>
                    <a:pt x="3181" y="2681"/>
                  </a:lnTo>
                  <a:lnTo>
                    <a:pt x="3216" y="2699"/>
                  </a:lnTo>
                  <a:lnTo>
                    <a:pt x="3253" y="2709"/>
                  </a:lnTo>
                  <a:lnTo>
                    <a:pt x="3293" y="2713"/>
                  </a:lnTo>
                  <a:lnTo>
                    <a:pt x="3333" y="2709"/>
                  </a:lnTo>
                  <a:lnTo>
                    <a:pt x="3371" y="2699"/>
                  </a:lnTo>
                  <a:lnTo>
                    <a:pt x="3404" y="2681"/>
                  </a:lnTo>
                  <a:lnTo>
                    <a:pt x="3435" y="2660"/>
                  </a:lnTo>
                  <a:lnTo>
                    <a:pt x="3462" y="2633"/>
                  </a:lnTo>
                  <a:lnTo>
                    <a:pt x="3484" y="2603"/>
                  </a:lnTo>
                  <a:lnTo>
                    <a:pt x="3501" y="2568"/>
                  </a:lnTo>
                  <a:lnTo>
                    <a:pt x="3511" y="2530"/>
                  </a:lnTo>
                  <a:lnTo>
                    <a:pt x="3515" y="2491"/>
                  </a:lnTo>
                  <a:lnTo>
                    <a:pt x="3511" y="2450"/>
                  </a:lnTo>
                  <a:lnTo>
                    <a:pt x="3501" y="2413"/>
                  </a:lnTo>
                  <a:lnTo>
                    <a:pt x="3484" y="2379"/>
                  </a:lnTo>
                  <a:lnTo>
                    <a:pt x="3462" y="2348"/>
                  </a:lnTo>
                  <a:lnTo>
                    <a:pt x="3435" y="2321"/>
                  </a:lnTo>
                  <a:lnTo>
                    <a:pt x="3404" y="2299"/>
                  </a:lnTo>
                  <a:lnTo>
                    <a:pt x="3371" y="2283"/>
                  </a:lnTo>
                  <a:lnTo>
                    <a:pt x="3333" y="2273"/>
                  </a:lnTo>
                  <a:lnTo>
                    <a:pt x="3293" y="2269"/>
                  </a:lnTo>
                  <a:close/>
                  <a:moveTo>
                    <a:pt x="386" y="1808"/>
                  </a:moveTo>
                  <a:lnTo>
                    <a:pt x="345" y="1812"/>
                  </a:lnTo>
                  <a:lnTo>
                    <a:pt x="308" y="1822"/>
                  </a:lnTo>
                  <a:lnTo>
                    <a:pt x="274" y="1838"/>
                  </a:lnTo>
                  <a:lnTo>
                    <a:pt x="243" y="1860"/>
                  </a:lnTo>
                  <a:lnTo>
                    <a:pt x="216" y="1887"/>
                  </a:lnTo>
                  <a:lnTo>
                    <a:pt x="194" y="1918"/>
                  </a:lnTo>
                  <a:lnTo>
                    <a:pt x="178" y="1953"/>
                  </a:lnTo>
                  <a:lnTo>
                    <a:pt x="167" y="1990"/>
                  </a:lnTo>
                  <a:lnTo>
                    <a:pt x="164" y="2030"/>
                  </a:lnTo>
                  <a:lnTo>
                    <a:pt x="167" y="2069"/>
                  </a:lnTo>
                  <a:lnTo>
                    <a:pt x="178" y="2107"/>
                  </a:lnTo>
                  <a:lnTo>
                    <a:pt x="194" y="2142"/>
                  </a:lnTo>
                  <a:lnTo>
                    <a:pt x="216" y="2172"/>
                  </a:lnTo>
                  <a:lnTo>
                    <a:pt x="243" y="2200"/>
                  </a:lnTo>
                  <a:lnTo>
                    <a:pt x="274" y="2222"/>
                  </a:lnTo>
                  <a:lnTo>
                    <a:pt x="308" y="2238"/>
                  </a:lnTo>
                  <a:lnTo>
                    <a:pt x="345" y="2248"/>
                  </a:lnTo>
                  <a:lnTo>
                    <a:pt x="386" y="2252"/>
                  </a:lnTo>
                  <a:lnTo>
                    <a:pt x="425" y="2248"/>
                  </a:lnTo>
                  <a:lnTo>
                    <a:pt x="462" y="2238"/>
                  </a:lnTo>
                  <a:lnTo>
                    <a:pt x="497" y="2222"/>
                  </a:lnTo>
                  <a:lnTo>
                    <a:pt x="528" y="2200"/>
                  </a:lnTo>
                  <a:lnTo>
                    <a:pt x="554" y="2172"/>
                  </a:lnTo>
                  <a:lnTo>
                    <a:pt x="576" y="2142"/>
                  </a:lnTo>
                  <a:lnTo>
                    <a:pt x="593" y="2107"/>
                  </a:lnTo>
                  <a:lnTo>
                    <a:pt x="603" y="2069"/>
                  </a:lnTo>
                  <a:lnTo>
                    <a:pt x="608" y="2030"/>
                  </a:lnTo>
                  <a:lnTo>
                    <a:pt x="603" y="1990"/>
                  </a:lnTo>
                  <a:lnTo>
                    <a:pt x="593" y="1953"/>
                  </a:lnTo>
                  <a:lnTo>
                    <a:pt x="576" y="1918"/>
                  </a:lnTo>
                  <a:lnTo>
                    <a:pt x="554" y="1887"/>
                  </a:lnTo>
                  <a:lnTo>
                    <a:pt x="528" y="1860"/>
                  </a:lnTo>
                  <a:lnTo>
                    <a:pt x="497" y="1838"/>
                  </a:lnTo>
                  <a:lnTo>
                    <a:pt x="462" y="1822"/>
                  </a:lnTo>
                  <a:lnTo>
                    <a:pt x="425" y="1812"/>
                  </a:lnTo>
                  <a:lnTo>
                    <a:pt x="386" y="1808"/>
                  </a:lnTo>
                  <a:close/>
                  <a:moveTo>
                    <a:pt x="1593" y="488"/>
                  </a:moveTo>
                  <a:lnTo>
                    <a:pt x="1580" y="534"/>
                  </a:lnTo>
                  <a:lnTo>
                    <a:pt x="1562" y="578"/>
                  </a:lnTo>
                  <a:lnTo>
                    <a:pt x="1539" y="618"/>
                  </a:lnTo>
                  <a:lnTo>
                    <a:pt x="1510" y="655"/>
                  </a:lnTo>
                  <a:lnTo>
                    <a:pt x="1477" y="689"/>
                  </a:lnTo>
                  <a:lnTo>
                    <a:pt x="1442" y="719"/>
                  </a:lnTo>
                  <a:lnTo>
                    <a:pt x="1402" y="744"/>
                  </a:lnTo>
                  <a:lnTo>
                    <a:pt x="1360" y="764"/>
                  </a:lnTo>
                  <a:lnTo>
                    <a:pt x="1313" y="779"/>
                  </a:lnTo>
                  <a:lnTo>
                    <a:pt x="1266" y="788"/>
                  </a:lnTo>
                  <a:lnTo>
                    <a:pt x="1216" y="792"/>
                  </a:lnTo>
                  <a:lnTo>
                    <a:pt x="1177" y="789"/>
                  </a:lnTo>
                  <a:lnTo>
                    <a:pt x="1138" y="784"/>
                  </a:lnTo>
                  <a:lnTo>
                    <a:pt x="1100" y="773"/>
                  </a:lnTo>
                  <a:lnTo>
                    <a:pt x="1064" y="759"/>
                  </a:lnTo>
                  <a:lnTo>
                    <a:pt x="1100" y="934"/>
                  </a:lnTo>
                  <a:lnTo>
                    <a:pt x="1101" y="956"/>
                  </a:lnTo>
                  <a:lnTo>
                    <a:pt x="1096" y="976"/>
                  </a:lnTo>
                  <a:lnTo>
                    <a:pt x="1087" y="995"/>
                  </a:lnTo>
                  <a:lnTo>
                    <a:pt x="1074" y="1011"/>
                  </a:lnTo>
                  <a:lnTo>
                    <a:pt x="1056" y="1023"/>
                  </a:lnTo>
                  <a:lnTo>
                    <a:pt x="1035" y="1030"/>
                  </a:lnTo>
                  <a:lnTo>
                    <a:pt x="1027" y="1031"/>
                  </a:lnTo>
                  <a:lnTo>
                    <a:pt x="1019" y="1032"/>
                  </a:lnTo>
                  <a:lnTo>
                    <a:pt x="997" y="1028"/>
                  </a:lnTo>
                  <a:lnTo>
                    <a:pt x="976" y="1020"/>
                  </a:lnTo>
                  <a:lnTo>
                    <a:pt x="960" y="1006"/>
                  </a:lnTo>
                  <a:lnTo>
                    <a:pt x="947" y="988"/>
                  </a:lnTo>
                  <a:lnTo>
                    <a:pt x="939" y="966"/>
                  </a:lnTo>
                  <a:lnTo>
                    <a:pt x="892" y="737"/>
                  </a:lnTo>
                  <a:lnTo>
                    <a:pt x="580" y="1697"/>
                  </a:lnTo>
                  <a:lnTo>
                    <a:pt x="621" y="1725"/>
                  </a:lnTo>
                  <a:lnTo>
                    <a:pt x="658" y="1757"/>
                  </a:lnTo>
                  <a:lnTo>
                    <a:pt x="691" y="1794"/>
                  </a:lnTo>
                  <a:lnTo>
                    <a:pt x="719" y="1836"/>
                  </a:lnTo>
                  <a:lnTo>
                    <a:pt x="740" y="1880"/>
                  </a:lnTo>
                  <a:lnTo>
                    <a:pt x="757" y="1927"/>
                  </a:lnTo>
                  <a:lnTo>
                    <a:pt x="767" y="1978"/>
                  </a:lnTo>
                  <a:lnTo>
                    <a:pt x="770" y="2030"/>
                  </a:lnTo>
                  <a:lnTo>
                    <a:pt x="768" y="2075"/>
                  </a:lnTo>
                  <a:lnTo>
                    <a:pt x="760" y="2118"/>
                  </a:lnTo>
                  <a:lnTo>
                    <a:pt x="749" y="2160"/>
                  </a:lnTo>
                  <a:lnTo>
                    <a:pt x="731" y="2200"/>
                  </a:lnTo>
                  <a:lnTo>
                    <a:pt x="710" y="2237"/>
                  </a:lnTo>
                  <a:lnTo>
                    <a:pt x="863" y="2230"/>
                  </a:lnTo>
                  <a:lnTo>
                    <a:pt x="885" y="2232"/>
                  </a:lnTo>
                  <a:lnTo>
                    <a:pt x="904" y="2239"/>
                  </a:lnTo>
                  <a:lnTo>
                    <a:pt x="922" y="2252"/>
                  </a:lnTo>
                  <a:lnTo>
                    <a:pt x="935" y="2267"/>
                  </a:lnTo>
                  <a:lnTo>
                    <a:pt x="944" y="2286"/>
                  </a:lnTo>
                  <a:lnTo>
                    <a:pt x="948" y="2308"/>
                  </a:lnTo>
                  <a:lnTo>
                    <a:pt x="946" y="2330"/>
                  </a:lnTo>
                  <a:lnTo>
                    <a:pt x="939" y="2350"/>
                  </a:lnTo>
                  <a:lnTo>
                    <a:pt x="926" y="2367"/>
                  </a:lnTo>
                  <a:lnTo>
                    <a:pt x="910" y="2380"/>
                  </a:lnTo>
                  <a:lnTo>
                    <a:pt x="892" y="2389"/>
                  </a:lnTo>
                  <a:lnTo>
                    <a:pt x="870" y="2394"/>
                  </a:lnTo>
                  <a:lnTo>
                    <a:pt x="561" y="2408"/>
                  </a:lnTo>
                  <a:lnTo>
                    <a:pt x="1408" y="3022"/>
                  </a:lnTo>
                  <a:lnTo>
                    <a:pt x="1444" y="2995"/>
                  </a:lnTo>
                  <a:lnTo>
                    <a:pt x="1483" y="2971"/>
                  </a:lnTo>
                  <a:lnTo>
                    <a:pt x="1524" y="2953"/>
                  </a:lnTo>
                  <a:lnTo>
                    <a:pt x="1568" y="2939"/>
                  </a:lnTo>
                  <a:lnTo>
                    <a:pt x="1614" y="2930"/>
                  </a:lnTo>
                  <a:lnTo>
                    <a:pt x="1662" y="2928"/>
                  </a:lnTo>
                  <a:lnTo>
                    <a:pt x="1710" y="2930"/>
                  </a:lnTo>
                  <a:lnTo>
                    <a:pt x="1757" y="2939"/>
                  </a:lnTo>
                  <a:lnTo>
                    <a:pt x="1801" y="2953"/>
                  </a:lnTo>
                  <a:lnTo>
                    <a:pt x="1844" y="2973"/>
                  </a:lnTo>
                  <a:lnTo>
                    <a:pt x="1883" y="2997"/>
                  </a:lnTo>
                  <a:lnTo>
                    <a:pt x="1919" y="3026"/>
                  </a:lnTo>
                  <a:lnTo>
                    <a:pt x="1950" y="3058"/>
                  </a:lnTo>
                  <a:lnTo>
                    <a:pt x="1979" y="3094"/>
                  </a:lnTo>
                  <a:lnTo>
                    <a:pt x="2030" y="2955"/>
                  </a:lnTo>
                  <a:lnTo>
                    <a:pt x="2040" y="2937"/>
                  </a:lnTo>
                  <a:lnTo>
                    <a:pt x="2055" y="2921"/>
                  </a:lnTo>
                  <a:lnTo>
                    <a:pt x="2072" y="2910"/>
                  </a:lnTo>
                  <a:lnTo>
                    <a:pt x="2093" y="2903"/>
                  </a:lnTo>
                  <a:lnTo>
                    <a:pt x="2114" y="2902"/>
                  </a:lnTo>
                  <a:lnTo>
                    <a:pt x="2135" y="2908"/>
                  </a:lnTo>
                  <a:lnTo>
                    <a:pt x="2154" y="2918"/>
                  </a:lnTo>
                  <a:lnTo>
                    <a:pt x="2171" y="2932"/>
                  </a:lnTo>
                  <a:lnTo>
                    <a:pt x="2181" y="2951"/>
                  </a:lnTo>
                  <a:lnTo>
                    <a:pt x="2188" y="2970"/>
                  </a:lnTo>
                  <a:lnTo>
                    <a:pt x="2188" y="2991"/>
                  </a:lnTo>
                  <a:lnTo>
                    <a:pt x="2183" y="3013"/>
                  </a:lnTo>
                  <a:lnTo>
                    <a:pt x="2090" y="3266"/>
                  </a:lnTo>
                  <a:lnTo>
                    <a:pt x="2941" y="2647"/>
                  </a:lnTo>
                  <a:lnTo>
                    <a:pt x="2927" y="2610"/>
                  </a:lnTo>
                  <a:lnTo>
                    <a:pt x="2917" y="2572"/>
                  </a:lnTo>
                  <a:lnTo>
                    <a:pt x="2910" y="2531"/>
                  </a:lnTo>
                  <a:lnTo>
                    <a:pt x="2908" y="2491"/>
                  </a:lnTo>
                  <a:lnTo>
                    <a:pt x="2911" y="2440"/>
                  </a:lnTo>
                  <a:lnTo>
                    <a:pt x="2920" y="2390"/>
                  </a:lnTo>
                  <a:lnTo>
                    <a:pt x="2936" y="2344"/>
                  </a:lnTo>
                  <a:lnTo>
                    <a:pt x="2957" y="2300"/>
                  </a:lnTo>
                  <a:lnTo>
                    <a:pt x="2984" y="2261"/>
                  </a:lnTo>
                  <a:lnTo>
                    <a:pt x="3015" y="2224"/>
                  </a:lnTo>
                  <a:lnTo>
                    <a:pt x="3051" y="2192"/>
                  </a:lnTo>
                  <a:lnTo>
                    <a:pt x="3090" y="2163"/>
                  </a:lnTo>
                  <a:lnTo>
                    <a:pt x="3133" y="2141"/>
                  </a:lnTo>
                  <a:lnTo>
                    <a:pt x="3178" y="2122"/>
                  </a:lnTo>
                  <a:lnTo>
                    <a:pt x="3051" y="2026"/>
                  </a:lnTo>
                  <a:lnTo>
                    <a:pt x="3036" y="2010"/>
                  </a:lnTo>
                  <a:lnTo>
                    <a:pt x="3025" y="1992"/>
                  </a:lnTo>
                  <a:lnTo>
                    <a:pt x="3020" y="1972"/>
                  </a:lnTo>
                  <a:lnTo>
                    <a:pt x="3020" y="1950"/>
                  </a:lnTo>
                  <a:lnTo>
                    <a:pt x="3025" y="1931"/>
                  </a:lnTo>
                  <a:lnTo>
                    <a:pt x="3036" y="1911"/>
                  </a:lnTo>
                  <a:lnTo>
                    <a:pt x="3052" y="1896"/>
                  </a:lnTo>
                  <a:lnTo>
                    <a:pt x="3070" y="1886"/>
                  </a:lnTo>
                  <a:lnTo>
                    <a:pt x="3090" y="1880"/>
                  </a:lnTo>
                  <a:lnTo>
                    <a:pt x="3111" y="1880"/>
                  </a:lnTo>
                  <a:lnTo>
                    <a:pt x="3132" y="1886"/>
                  </a:lnTo>
                  <a:lnTo>
                    <a:pt x="3150" y="1896"/>
                  </a:lnTo>
                  <a:lnTo>
                    <a:pt x="3372" y="2066"/>
                  </a:lnTo>
                  <a:lnTo>
                    <a:pt x="3052" y="1079"/>
                  </a:lnTo>
                  <a:lnTo>
                    <a:pt x="3013" y="1080"/>
                  </a:lnTo>
                  <a:lnTo>
                    <a:pt x="2961" y="1077"/>
                  </a:lnTo>
                  <a:lnTo>
                    <a:pt x="2911" y="1067"/>
                  </a:lnTo>
                  <a:lnTo>
                    <a:pt x="2864" y="1050"/>
                  </a:lnTo>
                  <a:lnTo>
                    <a:pt x="2819" y="1028"/>
                  </a:lnTo>
                  <a:lnTo>
                    <a:pt x="2778" y="1001"/>
                  </a:lnTo>
                  <a:lnTo>
                    <a:pt x="2741" y="968"/>
                  </a:lnTo>
                  <a:lnTo>
                    <a:pt x="2708" y="930"/>
                  </a:lnTo>
                  <a:lnTo>
                    <a:pt x="2680" y="890"/>
                  </a:lnTo>
                  <a:lnTo>
                    <a:pt x="2658" y="845"/>
                  </a:lnTo>
                  <a:lnTo>
                    <a:pt x="2642" y="797"/>
                  </a:lnTo>
                  <a:lnTo>
                    <a:pt x="2631" y="748"/>
                  </a:lnTo>
                  <a:lnTo>
                    <a:pt x="2628" y="696"/>
                  </a:lnTo>
                  <a:lnTo>
                    <a:pt x="2628" y="696"/>
                  </a:lnTo>
                  <a:lnTo>
                    <a:pt x="2494" y="794"/>
                  </a:lnTo>
                  <a:lnTo>
                    <a:pt x="2479" y="803"/>
                  </a:lnTo>
                  <a:lnTo>
                    <a:pt x="2463" y="809"/>
                  </a:lnTo>
                  <a:lnTo>
                    <a:pt x="2445" y="810"/>
                  </a:lnTo>
                  <a:lnTo>
                    <a:pt x="2427" y="808"/>
                  </a:lnTo>
                  <a:lnTo>
                    <a:pt x="2410" y="802"/>
                  </a:lnTo>
                  <a:lnTo>
                    <a:pt x="2393" y="792"/>
                  </a:lnTo>
                  <a:lnTo>
                    <a:pt x="2380" y="778"/>
                  </a:lnTo>
                  <a:lnTo>
                    <a:pt x="2369" y="758"/>
                  </a:lnTo>
                  <a:lnTo>
                    <a:pt x="2365" y="737"/>
                  </a:lnTo>
                  <a:lnTo>
                    <a:pt x="2365" y="717"/>
                  </a:lnTo>
                  <a:lnTo>
                    <a:pt x="2370" y="697"/>
                  </a:lnTo>
                  <a:lnTo>
                    <a:pt x="2381" y="678"/>
                  </a:lnTo>
                  <a:lnTo>
                    <a:pt x="2397" y="663"/>
                  </a:lnTo>
                  <a:lnTo>
                    <a:pt x="2633" y="488"/>
                  </a:lnTo>
                  <a:lnTo>
                    <a:pt x="1593" y="488"/>
                  </a:lnTo>
                  <a:close/>
                  <a:moveTo>
                    <a:pt x="3013" y="474"/>
                  </a:moveTo>
                  <a:lnTo>
                    <a:pt x="2973" y="477"/>
                  </a:lnTo>
                  <a:lnTo>
                    <a:pt x="2936" y="488"/>
                  </a:lnTo>
                  <a:lnTo>
                    <a:pt x="2902" y="504"/>
                  </a:lnTo>
                  <a:lnTo>
                    <a:pt x="2871" y="526"/>
                  </a:lnTo>
                  <a:lnTo>
                    <a:pt x="2844" y="552"/>
                  </a:lnTo>
                  <a:lnTo>
                    <a:pt x="2822" y="584"/>
                  </a:lnTo>
                  <a:lnTo>
                    <a:pt x="2806" y="618"/>
                  </a:lnTo>
                  <a:lnTo>
                    <a:pt x="2795" y="655"/>
                  </a:lnTo>
                  <a:lnTo>
                    <a:pt x="2792" y="696"/>
                  </a:lnTo>
                  <a:lnTo>
                    <a:pt x="2795" y="735"/>
                  </a:lnTo>
                  <a:lnTo>
                    <a:pt x="2806" y="773"/>
                  </a:lnTo>
                  <a:lnTo>
                    <a:pt x="2822" y="808"/>
                  </a:lnTo>
                  <a:lnTo>
                    <a:pt x="2844" y="838"/>
                  </a:lnTo>
                  <a:lnTo>
                    <a:pt x="2871" y="864"/>
                  </a:lnTo>
                  <a:lnTo>
                    <a:pt x="2902" y="886"/>
                  </a:lnTo>
                  <a:lnTo>
                    <a:pt x="2936" y="904"/>
                  </a:lnTo>
                  <a:lnTo>
                    <a:pt x="2973" y="914"/>
                  </a:lnTo>
                  <a:lnTo>
                    <a:pt x="3013" y="918"/>
                  </a:lnTo>
                  <a:lnTo>
                    <a:pt x="3053" y="914"/>
                  </a:lnTo>
                  <a:lnTo>
                    <a:pt x="3090" y="904"/>
                  </a:lnTo>
                  <a:lnTo>
                    <a:pt x="3125" y="886"/>
                  </a:lnTo>
                  <a:lnTo>
                    <a:pt x="3156" y="864"/>
                  </a:lnTo>
                  <a:lnTo>
                    <a:pt x="3182" y="838"/>
                  </a:lnTo>
                  <a:lnTo>
                    <a:pt x="3204" y="808"/>
                  </a:lnTo>
                  <a:lnTo>
                    <a:pt x="3221" y="773"/>
                  </a:lnTo>
                  <a:lnTo>
                    <a:pt x="3231" y="735"/>
                  </a:lnTo>
                  <a:lnTo>
                    <a:pt x="3234" y="696"/>
                  </a:lnTo>
                  <a:lnTo>
                    <a:pt x="3231" y="655"/>
                  </a:lnTo>
                  <a:lnTo>
                    <a:pt x="3221" y="618"/>
                  </a:lnTo>
                  <a:lnTo>
                    <a:pt x="3204" y="584"/>
                  </a:lnTo>
                  <a:lnTo>
                    <a:pt x="3182" y="552"/>
                  </a:lnTo>
                  <a:lnTo>
                    <a:pt x="3156" y="526"/>
                  </a:lnTo>
                  <a:lnTo>
                    <a:pt x="3125" y="504"/>
                  </a:lnTo>
                  <a:lnTo>
                    <a:pt x="3090" y="488"/>
                  </a:lnTo>
                  <a:lnTo>
                    <a:pt x="3053" y="477"/>
                  </a:lnTo>
                  <a:lnTo>
                    <a:pt x="3013" y="474"/>
                  </a:lnTo>
                  <a:close/>
                  <a:moveTo>
                    <a:pt x="1216" y="184"/>
                  </a:moveTo>
                  <a:lnTo>
                    <a:pt x="1177" y="187"/>
                  </a:lnTo>
                  <a:lnTo>
                    <a:pt x="1140" y="198"/>
                  </a:lnTo>
                  <a:lnTo>
                    <a:pt x="1105" y="214"/>
                  </a:lnTo>
                  <a:lnTo>
                    <a:pt x="1074" y="236"/>
                  </a:lnTo>
                  <a:lnTo>
                    <a:pt x="1048" y="264"/>
                  </a:lnTo>
                  <a:lnTo>
                    <a:pt x="1026" y="294"/>
                  </a:lnTo>
                  <a:lnTo>
                    <a:pt x="1010" y="328"/>
                  </a:lnTo>
                  <a:lnTo>
                    <a:pt x="999" y="366"/>
                  </a:lnTo>
                  <a:lnTo>
                    <a:pt x="996" y="406"/>
                  </a:lnTo>
                  <a:lnTo>
                    <a:pt x="999" y="446"/>
                  </a:lnTo>
                  <a:lnTo>
                    <a:pt x="1010" y="483"/>
                  </a:lnTo>
                  <a:lnTo>
                    <a:pt x="1026" y="518"/>
                  </a:lnTo>
                  <a:lnTo>
                    <a:pt x="1048" y="549"/>
                  </a:lnTo>
                  <a:lnTo>
                    <a:pt x="1074" y="576"/>
                  </a:lnTo>
                  <a:lnTo>
                    <a:pt x="1105" y="598"/>
                  </a:lnTo>
                  <a:lnTo>
                    <a:pt x="1140" y="614"/>
                  </a:lnTo>
                  <a:lnTo>
                    <a:pt x="1177" y="624"/>
                  </a:lnTo>
                  <a:lnTo>
                    <a:pt x="1216" y="628"/>
                  </a:lnTo>
                  <a:lnTo>
                    <a:pt x="1257" y="624"/>
                  </a:lnTo>
                  <a:lnTo>
                    <a:pt x="1294" y="614"/>
                  </a:lnTo>
                  <a:lnTo>
                    <a:pt x="1328" y="598"/>
                  </a:lnTo>
                  <a:lnTo>
                    <a:pt x="1360" y="576"/>
                  </a:lnTo>
                  <a:lnTo>
                    <a:pt x="1386" y="549"/>
                  </a:lnTo>
                  <a:lnTo>
                    <a:pt x="1408" y="518"/>
                  </a:lnTo>
                  <a:lnTo>
                    <a:pt x="1424" y="483"/>
                  </a:lnTo>
                  <a:lnTo>
                    <a:pt x="1435" y="446"/>
                  </a:lnTo>
                  <a:lnTo>
                    <a:pt x="1438" y="406"/>
                  </a:lnTo>
                  <a:lnTo>
                    <a:pt x="1435" y="366"/>
                  </a:lnTo>
                  <a:lnTo>
                    <a:pt x="1424" y="328"/>
                  </a:lnTo>
                  <a:lnTo>
                    <a:pt x="1408" y="294"/>
                  </a:lnTo>
                  <a:lnTo>
                    <a:pt x="1386" y="264"/>
                  </a:lnTo>
                  <a:lnTo>
                    <a:pt x="1360" y="236"/>
                  </a:lnTo>
                  <a:lnTo>
                    <a:pt x="1328" y="214"/>
                  </a:lnTo>
                  <a:lnTo>
                    <a:pt x="1294" y="198"/>
                  </a:lnTo>
                  <a:lnTo>
                    <a:pt x="1257" y="187"/>
                  </a:lnTo>
                  <a:lnTo>
                    <a:pt x="1216" y="184"/>
                  </a:lnTo>
                  <a:close/>
                  <a:moveTo>
                    <a:pt x="2455" y="0"/>
                  </a:moveTo>
                  <a:lnTo>
                    <a:pt x="2475" y="5"/>
                  </a:lnTo>
                  <a:lnTo>
                    <a:pt x="2494" y="16"/>
                  </a:lnTo>
                  <a:lnTo>
                    <a:pt x="2910" y="324"/>
                  </a:lnTo>
                  <a:lnTo>
                    <a:pt x="2943" y="317"/>
                  </a:lnTo>
                  <a:lnTo>
                    <a:pt x="2978" y="312"/>
                  </a:lnTo>
                  <a:lnTo>
                    <a:pt x="3013" y="310"/>
                  </a:lnTo>
                  <a:lnTo>
                    <a:pt x="3066" y="313"/>
                  </a:lnTo>
                  <a:lnTo>
                    <a:pt x="3115" y="324"/>
                  </a:lnTo>
                  <a:lnTo>
                    <a:pt x="3163" y="340"/>
                  </a:lnTo>
                  <a:lnTo>
                    <a:pt x="3208" y="363"/>
                  </a:lnTo>
                  <a:lnTo>
                    <a:pt x="3248" y="391"/>
                  </a:lnTo>
                  <a:lnTo>
                    <a:pt x="3285" y="423"/>
                  </a:lnTo>
                  <a:lnTo>
                    <a:pt x="3318" y="460"/>
                  </a:lnTo>
                  <a:lnTo>
                    <a:pt x="3345" y="502"/>
                  </a:lnTo>
                  <a:lnTo>
                    <a:pt x="3368" y="546"/>
                  </a:lnTo>
                  <a:lnTo>
                    <a:pt x="3385" y="593"/>
                  </a:lnTo>
                  <a:lnTo>
                    <a:pt x="3395" y="644"/>
                  </a:lnTo>
                  <a:lnTo>
                    <a:pt x="3398" y="696"/>
                  </a:lnTo>
                  <a:lnTo>
                    <a:pt x="3395" y="748"/>
                  </a:lnTo>
                  <a:lnTo>
                    <a:pt x="3385" y="797"/>
                  </a:lnTo>
                  <a:lnTo>
                    <a:pt x="3368" y="846"/>
                  </a:lnTo>
                  <a:lnTo>
                    <a:pt x="3345" y="890"/>
                  </a:lnTo>
                  <a:lnTo>
                    <a:pt x="3318" y="931"/>
                  </a:lnTo>
                  <a:lnTo>
                    <a:pt x="3285" y="968"/>
                  </a:lnTo>
                  <a:lnTo>
                    <a:pt x="3248" y="1001"/>
                  </a:lnTo>
                  <a:lnTo>
                    <a:pt x="3207" y="1028"/>
                  </a:lnTo>
                  <a:lnTo>
                    <a:pt x="3537" y="2044"/>
                  </a:lnTo>
                  <a:lnTo>
                    <a:pt x="3646" y="1754"/>
                  </a:lnTo>
                  <a:lnTo>
                    <a:pt x="3656" y="1734"/>
                  </a:lnTo>
                  <a:lnTo>
                    <a:pt x="3671" y="1719"/>
                  </a:lnTo>
                  <a:lnTo>
                    <a:pt x="3688" y="1708"/>
                  </a:lnTo>
                  <a:lnTo>
                    <a:pt x="3709" y="1702"/>
                  </a:lnTo>
                  <a:lnTo>
                    <a:pt x="3730" y="1701"/>
                  </a:lnTo>
                  <a:lnTo>
                    <a:pt x="3752" y="1706"/>
                  </a:lnTo>
                  <a:lnTo>
                    <a:pt x="3770" y="1717"/>
                  </a:lnTo>
                  <a:lnTo>
                    <a:pt x="3787" y="1731"/>
                  </a:lnTo>
                  <a:lnTo>
                    <a:pt x="3797" y="1749"/>
                  </a:lnTo>
                  <a:lnTo>
                    <a:pt x="3804" y="1769"/>
                  </a:lnTo>
                  <a:lnTo>
                    <a:pt x="3804" y="1790"/>
                  </a:lnTo>
                  <a:lnTo>
                    <a:pt x="3799" y="1812"/>
                  </a:lnTo>
                  <a:lnTo>
                    <a:pt x="3620" y="2288"/>
                  </a:lnTo>
                  <a:lnTo>
                    <a:pt x="3641" y="2325"/>
                  </a:lnTo>
                  <a:lnTo>
                    <a:pt x="3656" y="2363"/>
                  </a:lnTo>
                  <a:lnTo>
                    <a:pt x="3669" y="2404"/>
                  </a:lnTo>
                  <a:lnTo>
                    <a:pt x="3676" y="2447"/>
                  </a:lnTo>
                  <a:lnTo>
                    <a:pt x="3678" y="2491"/>
                  </a:lnTo>
                  <a:lnTo>
                    <a:pt x="3675" y="2543"/>
                  </a:lnTo>
                  <a:lnTo>
                    <a:pt x="3664" y="2593"/>
                  </a:lnTo>
                  <a:lnTo>
                    <a:pt x="3648" y="2640"/>
                  </a:lnTo>
                  <a:lnTo>
                    <a:pt x="3626" y="2685"/>
                  </a:lnTo>
                  <a:lnTo>
                    <a:pt x="3598" y="2725"/>
                  </a:lnTo>
                  <a:lnTo>
                    <a:pt x="3565" y="2762"/>
                  </a:lnTo>
                  <a:lnTo>
                    <a:pt x="3528" y="2796"/>
                  </a:lnTo>
                  <a:lnTo>
                    <a:pt x="3487" y="2824"/>
                  </a:lnTo>
                  <a:lnTo>
                    <a:pt x="3442" y="2845"/>
                  </a:lnTo>
                  <a:lnTo>
                    <a:pt x="3395" y="2862"/>
                  </a:lnTo>
                  <a:lnTo>
                    <a:pt x="3345" y="2872"/>
                  </a:lnTo>
                  <a:lnTo>
                    <a:pt x="3293" y="2876"/>
                  </a:lnTo>
                  <a:lnTo>
                    <a:pt x="3245" y="2873"/>
                  </a:lnTo>
                  <a:lnTo>
                    <a:pt x="3199" y="2864"/>
                  </a:lnTo>
                  <a:lnTo>
                    <a:pt x="3154" y="2850"/>
                  </a:lnTo>
                  <a:lnTo>
                    <a:pt x="3112" y="2830"/>
                  </a:lnTo>
                  <a:lnTo>
                    <a:pt x="3074" y="2807"/>
                  </a:lnTo>
                  <a:lnTo>
                    <a:pt x="3038" y="2778"/>
                  </a:lnTo>
                  <a:lnTo>
                    <a:pt x="2147" y="3425"/>
                  </a:lnTo>
                  <a:lnTo>
                    <a:pt x="2464" y="3445"/>
                  </a:lnTo>
                  <a:lnTo>
                    <a:pt x="2486" y="3450"/>
                  </a:lnTo>
                  <a:lnTo>
                    <a:pt x="2504" y="3459"/>
                  </a:lnTo>
                  <a:lnTo>
                    <a:pt x="2521" y="3473"/>
                  </a:lnTo>
                  <a:lnTo>
                    <a:pt x="2532" y="3490"/>
                  </a:lnTo>
                  <a:lnTo>
                    <a:pt x="2539" y="3510"/>
                  </a:lnTo>
                  <a:lnTo>
                    <a:pt x="2540" y="3532"/>
                  </a:lnTo>
                  <a:lnTo>
                    <a:pt x="2537" y="3552"/>
                  </a:lnTo>
                  <a:lnTo>
                    <a:pt x="2527" y="3571"/>
                  </a:lnTo>
                  <a:lnTo>
                    <a:pt x="2515" y="3586"/>
                  </a:lnTo>
                  <a:lnTo>
                    <a:pt x="2499" y="3599"/>
                  </a:lnTo>
                  <a:lnTo>
                    <a:pt x="2480" y="3606"/>
                  </a:lnTo>
                  <a:lnTo>
                    <a:pt x="2459" y="3609"/>
                  </a:lnTo>
                  <a:lnTo>
                    <a:pt x="2454" y="3608"/>
                  </a:lnTo>
                  <a:lnTo>
                    <a:pt x="1942" y="3577"/>
                  </a:lnTo>
                  <a:lnTo>
                    <a:pt x="1911" y="3607"/>
                  </a:lnTo>
                  <a:lnTo>
                    <a:pt x="1875" y="3633"/>
                  </a:lnTo>
                  <a:lnTo>
                    <a:pt x="1837" y="3655"/>
                  </a:lnTo>
                  <a:lnTo>
                    <a:pt x="1796" y="3674"/>
                  </a:lnTo>
                  <a:lnTo>
                    <a:pt x="1754" y="3686"/>
                  </a:lnTo>
                  <a:lnTo>
                    <a:pt x="1708" y="3695"/>
                  </a:lnTo>
                  <a:lnTo>
                    <a:pt x="1662" y="3698"/>
                  </a:lnTo>
                  <a:lnTo>
                    <a:pt x="1609" y="3695"/>
                  </a:lnTo>
                  <a:lnTo>
                    <a:pt x="1559" y="3684"/>
                  </a:lnTo>
                  <a:lnTo>
                    <a:pt x="1512" y="3667"/>
                  </a:lnTo>
                  <a:lnTo>
                    <a:pt x="1467" y="3645"/>
                  </a:lnTo>
                  <a:lnTo>
                    <a:pt x="1427" y="3617"/>
                  </a:lnTo>
                  <a:lnTo>
                    <a:pt x="1390" y="3585"/>
                  </a:lnTo>
                  <a:lnTo>
                    <a:pt x="1357" y="3548"/>
                  </a:lnTo>
                  <a:lnTo>
                    <a:pt x="1330" y="3506"/>
                  </a:lnTo>
                  <a:lnTo>
                    <a:pt x="1306" y="3462"/>
                  </a:lnTo>
                  <a:lnTo>
                    <a:pt x="1290" y="3415"/>
                  </a:lnTo>
                  <a:lnTo>
                    <a:pt x="1280" y="3364"/>
                  </a:lnTo>
                  <a:lnTo>
                    <a:pt x="1276" y="3312"/>
                  </a:lnTo>
                  <a:lnTo>
                    <a:pt x="1279" y="3271"/>
                  </a:lnTo>
                  <a:lnTo>
                    <a:pt x="1286" y="3230"/>
                  </a:lnTo>
                  <a:lnTo>
                    <a:pt x="1296" y="3191"/>
                  </a:lnTo>
                  <a:lnTo>
                    <a:pt x="1311" y="3154"/>
                  </a:lnTo>
                  <a:lnTo>
                    <a:pt x="489" y="2557"/>
                  </a:lnTo>
                  <a:lnTo>
                    <a:pt x="581" y="2821"/>
                  </a:lnTo>
                  <a:lnTo>
                    <a:pt x="586" y="2842"/>
                  </a:lnTo>
                  <a:lnTo>
                    <a:pt x="585" y="2863"/>
                  </a:lnTo>
                  <a:lnTo>
                    <a:pt x="579" y="2884"/>
                  </a:lnTo>
                  <a:lnTo>
                    <a:pt x="567" y="2901"/>
                  </a:lnTo>
                  <a:lnTo>
                    <a:pt x="551" y="2915"/>
                  </a:lnTo>
                  <a:lnTo>
                    <a:pt x="531" y="2925"/>
                  </a:lnTo>
                  <a:lnTo>
                    <a:pt x="518" y="2929"/>
                  </a:lnTo>
                  <a:lnTo>
                    <a:pt x="505" y="2930"/>
                  </a:lnTo>
                  <a:lnTo>
                    <a:pt x="484" y="2928"/>
                  </a:lnTo>
                  <a:lnTo>
                    <a:pt x="466" y="2921"/>
                  </a:lnTo>
                  <a:lnTo>
                    <a:pt x="449" y="2909"/>
                  </a:lnTo>
                  <a:lnTo>
                    <a:pt x="437" y="2894"/>
                  </a:lnTo>
                  <a:lnTo>
                    <a:pt x="427" y="2876"/>
                  </a:lnTo>
                  <a:lnTo>
                    <a:pt x="258" y="2393"/>
                  </a:lnTo>
                  <a:lnTo>
                    <a:pt x="214" y="2374"/>
                  </a:lnTo>
                  <a:lnTo>
                    <a:pt x="173" y="2351"/>
                  </a:lnTo>
                  <a:lnTo>
                    <a:pt x="136" y="2323"/>
                  </a:lnTo>
                  <a:lnTo>
                    <a:pt x="102" y="2291"/>
                  </a:lnTo>
                  <a:lnTo>
                    <a:pt x="73" y="2254"/>
                  </a:lnTo>
                  <a:lnTo>
                    <a:pt x="47" y="2215"/>
                  </a:lnTo>
                  <a:lnTo>
                    <a:pt x="28" y="2172"/>
                  </a:lnTo>
                  <a:lnTo>
                    <a:pt x="13" y="2127"/>
                  </a:lnTo>
                  <a:lnTo>
                    <a:pt x="3" y="2080"/>
                  </a:lnTo>
                  <a:lnTo>
                    <a:pt x="0" y="2030"/>
                  </a:lnTo>
                  <a:lnTo>
                    <a:pt x="3" y="1978"/>
                  </a:lnTo>
                  <a:lnTo>
                    <a:pt x="14" y="1927"/>
                  </a:lnTo>
                  <a:lnTo>
                    <a:pt x="30" y="1880"/>
                  </a:lnTo>
                  <a:lnTo>
                    <a:pt x="53" y="1836"/>
                  </a:lnTo>
                  <a:lnTo>
                    <a:pt x="81" y="1794"/>
                  </a:lnTo>
                  <a:lnTo>
                    <a:pt x="113" y="1757"/>
                  </a:lnTo>
                  <a:lnTo>
                    <a:pt x="150" y="1725"/>
                  </a:lnTo>
                  <a:lnTo>
                    <a:pt x="191" y="1697"/>
                  </a:lnTo>
                  <a:lnTo>
                    <a:pt x="236" y="1675"/>
                  </a:lnTo>
                  <a:lnTo>
                    <a:pt x="283" y="1658"/>
                  </a:lnTo>
                  <a:lnTo>
                    <a:pt x="333" y="1648"/>
                  </a:lnTo>
                  <a:lnTo>
                    <a:pt x="386" y="1644"/>
                  </a:lnTo>
                  <a:lnTo>
                    <a:pt x="425" y="1646"/>
                  </a:lnTo>
                  <a:lnTo>
                    <a:pt x="768" y="588"/>
                  </a:lnTo>
                  <a:lnTo>
                    <a:pt x="471" y="749"/>
                  </a:lnTo>
                  <a:lnTo>
                    <a:pt x="452" y="756"/>
                  </a:lnTo>
                  <a:lnTo>
                    <a:pt x="430" y="758"/>
                  </a:lnTo>
                  <a:lnTo>
                    <a:pt x="409" y="755"/>
                  </a:lnTo>
                  <a:lnTo>
                    <a:pt x="390" y="747"/>
                  </a:lnTo>
                  <a:lnTo>
                    <a:pt x="374" y="733"/>
                  </a:lnTo>
                  <a:lnTo>
                    <a:pt x="360" y="715"/>
                  </a:lnTo>
                  <a:lnTo>
                    <a:pt x="353" y="695"/>
                  </a:lnTo>
                  <a:lnTo>
                    <a:pt x="351" y="674"/>
                  </a:lnTo>
                  <a:lnTo>
                    <a:pt x="355" y="653"/>
                  </a:lnTo>
                  <a:lnTo>
                    <a:pt x="363" y="633"/>
                  </a:lnTo>
                  <a:lnTo>
                    <a:pt x="377" y="617"/>
                  </a:lnTo>
                  <a:lnTo>
                    <a:pt x="394" y="604"/>
                  </a:lnTo>
                  <a:lnTo>
                    <a:pt x="834" y="366"/>
                  </a:lnTo>
                  <a:lnTo>
                    <a:pt x="841" y="319"/>
                  </a:lnTo>
                  <a:lnTo>
                    <a:pt x="855" y="273"/>
                  </a:lnTo>
                  <a:lnTo>
                    <a:pt x="873" y="230"/>
                  </a:lnTo>
                  <a:lnTo>
                    <a:pt x="898" y="191"/>
                  </a:lnTo>
                  <a:lnTo>
                    <a:pt x="925" y="154"/>
                  </a:lnTo>
                  <a:lnTo>
                    <a:pt x="958" y="120"/>
                  </a:lnTo>
                  <a:lnTo>
                    <a:pt x="995" y="92"/>
                  </a:lnTo>
                  <a:lnTo>
                    <a:pt x="1034" y="67"/>
                  </a:lnTo>
                  <a:lnTo>
                    <a:pt x="1075" y="48"/>
                  </a:lnTo>
                  <a:lnTo>
                    <a:pt x="1120" y="33"/>
                  </a:lnTo>
                  <a:lnTo>
                    <a:pt x="1168" y="23"/>
                  </a:lnTo>
                  <a:lnTo>
                    <a:pt x="1216" y="21"/>
                  </a:lnTo>
                  <a:lnTo>
                    <a:pt x="1266" y="23"/>
                  </a:lnTo>
                  <a:lnTo>
                    <a:pt x="1315" y="33"/>
                  </a:lnTo>
                  <a:lnTo>
                    <a:pt x="1360" y="48"/>
                  </a:lnTo>
                  <a:lnTo>
                    <a:pt x="1402" y="68"/>
                  </a:lnTo>
                  <a:lnTo>
                    <a:pt x="1442" y="93"/>
                  </a:lnTo>
                  <a:lnTo>
                    <a:pt x="1479" y="123"/>
                  </a:lnTo>
                  <a:lnTo>
                    <a:pt x="1511" y="156"/>
                  </a:lnTo>
                  <a:lnTo>
                    <a:pt x="1539" y="194"/>
                  </a:lnTo>
                  <a:lnTo>
                    <a:pt x="1562" y="235"/>
                  </a:lnTo>
                  <a:lnTo>
                    <a:pt x="1580" y="279"/>
                  </a:lnTo>
                  <a:lnTo>
                    <a:pt x="1594" y="325"/>
                  </a:lnTo>
                  <a:lnTo>
                    <a:pt x="2636" y="325"/>
                  </a:lnTo>
                  <a:lnTo>
                    <a:pt x="2397" y="147"/>
                  </a:lnTo>
                  <a:lnTo>
                    <a:pt x="2381" y="132"/>
                  </a:lnTo>
                  <a:lnTo>
                    <a:pt x="2370" y="114"/>
                  </a:lnTo>
                  <a:lnTo>
                    <a:pt x="2365" y="94"/>
                  </a:lnTo>
                  <a:lnTo>
                    <a:pt x="2365" y="73"/>
                  </a:lnTo>
                  <a:lnTo>
                    <a:pt x="2369" y="52"/>
                  </a:lnTo>
                  <a:lnTo>
                    <a:pt x="2380" y="33"/>
                  </a:lnTo>
                  <a:lnTo>
                    <a:pt x="2396" y="18"/>
                  </a:lnTo>
                  <a:lnTo>
                    <a:pt x="2413" y="6"/>
                  </a:lnTo>
                  <a:lnTo>
                    <a:pt x="2434" y="0"/>
                  </a:lnTo>
                  <a:lnTo>
                    <a:pt x="24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</p:grpSp>
      <p:grpSp>
        <p:nvGrpSpPr>
          <p:cNvPr id="46" name="Group 45"/>
          <p:cNvGrpSpPr>
            <a:grpSpLocks noChangeAspect="1"/>
          </p:cNvGrpSpPr>
          <p:nvPr/>
        </p:nvGrpSpPr>
        <p:grpSpPr>
          <a:xfrm>
            <a:off x="531485" y="4843614"/>
            <a:ext cx="433729" cy="242823"/>
            <a:chOff x="523783" y="1924627"/>
            <a:chExt cx="647792" cy="362667"/>
          </a:xfrm>
        </p:grpSpPr>
        <p:sp>
          <p:nvSpPr>
            <p:cNvPr id="48" name="Rectangle 47"/>
            <p:cNvSpPr/>
            <p:nvPr/>
          </p:nvSpPr>
          <p:spPr>
            <a:xfrm>
              <a:off x="523783" y="1924627"/>
              <a:ext cx="647792" cy="362667"/>
            </a:xfrm>
            <a:prstGeom prst="rect">
              <a:avLst/>
            </a:prstGeom>
            <a:solidFill>
              <a:srgbClr val="0166B6">
                <a:alpha val="50000"/>
              </a:srgb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/>
              <a:endParaRPr lang="pl-PL" sz="1517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grpSp>
          <p:nvGrpSpPr>
            <p:cNvPr id="49" name="Group 45"/>
            <p:cNvGrpSpPr>
              <a:grpSpLocks/>
            </p:cNvGrpSpPr>
            <p:nvPr/>
          </p:nvGrpSpPr>
          <p:grpSpPr bwMode="auto">
            <a:xfrm>
              <a:off x="688883" y="1962727"/>
              <a:ext cx="326196" cy="285416"/>
              <a:chOff x="984250" y="1573911"/>
              <a:chExt cx="901032" cy="786007"/>
            </a:xfrm>
          </p:grpSpPr>
          <p:sp>
            <p:nvSpPr>
              <p:cNvPr id="50" name="Freeform 55"/>
              <p:cNvSpPr>
                <a:spLocks noEditPoints="1"/>
              </p:cNvSpPr>
              <p:nvPr/>
            </p:nvSpPr>
            <p:spPr bwMode="auto">
              <a:xfrm>
                <a:off x="984250" y="1573911"/>
                <a:ext cx="901032" cy="786007"/>
              </a:xfrm>
              <a:custGeom>
                <a:avLst/>
                <a:gdLst>
                  <a:gd name="T0" fmla="*/ 2147483647 w 3423"/>
                  <a:gd name="T1" fmla="*/ 2147483647 h 3228"/>
                  <a:gd name="T2" fmla="*/ 2147483647 w 3423"/>
                  <a:gd name="T3" fmla="*/ 2147483647 h 3228"/>
                  <a:gd name="T4" fmla="*/ 2147483647 w 3423"/>
                  <a:gd name="T5" fmla="*/ 2147483647 h 3228"/>
                  <a:gd name="T6" fmla="*/ 2147483647 w 3423"/>
                  <a:gd name="T7" fmla="*/ 2147483647 h 3228"/>
                  <a:gd name="T8" fmla="*/ 2147483647 w 3423"/>
                  <a:gd name="T9" fmla="*/ 2147483647 h 3228"/>
                  <a:gd name="T10" fmla="*/ 2147483647 w 3423"/>
                  <a:gd name="T11" fmla="*/ 2147483647 h 3228"/>
                  <a:gd name="T12" fmla="*/ 2147483647 w 3423"/>
                  <a:gd name="T13" fmla="*/ 2147483647 h 3228"/>
                  <a:gd name="T14" fmla="*/ 2147483647 w 3423"/>
                  <a:gd name="T15" fmla="*/ 2147483647 h 3228"/>
                  <a:gd name="T16" fmla="*/ 2147483647 w 3423"/>
                  <a:gd name="T17" fmla="*/ 2147483647 h 3228"/>
                  <a:gd name="T18" fmla="*/ 2147483647 w 3423"/>
                  <a:gd name="T19" fmla="*/ 2147483647 h 3228"/>
                  <a:gd name="T20" fmla="*/ 2147483647 w 3423"/>
                  <a:gd name="T21" fmla="*/ 2147483647 h 3228"/>
                  <a:gd name="T22" fmla="*/ 2147483647 w 3423"/>
                  <a:gd name="T23" fmla="*/ 2147483647 h 3228"/>
                  <a:gd name="T24" fmla="*/ 2147483647 w 3423"/>
                  <a:gd name="T25" fmla="*/ 2147483647 h 3228"/>
                  <a:gd name="T26" fmla="*/ 2147483647 w 3423"/>
                  <a:gd name="T27" fmla="*/ 2147483647 h 3228"/>
                  <a:gd name="T28" fmla="*/ 2147483647 w 3423"/>
                  <a:gd name="T29" fmla="*/ 2147483647 h 3228"/>
                  <a:gd name="T30" fmla="*/ 2147483647 w 3423"/>
                  <a:gd name="T31" fmla="*/ 2147483647 h 3228"/>
                  <a:gd name="T32" fmla="*/ 2147483647 w 3423"/>
                  <a:gd name="T33" fmla="*/ 2147483647 h 3228"/>
                  <a:gd name="T34" fmla="*/ 2147483647 w 3423"/>
                  <a:gd name="T35" fmla="*/ 2147483647 h 3228"/>
                  <a:gd name="T36" fmla="*/ 2147483647 w 3423"/>
                  <a:gd name="T37" fmla="*/ 2147483647 h 3228"/>
                  <a:gd name="T38" fmla="*/ 2147483647 w 3423"/>
                  <a:gd name="T39" fmla="*/ 2147483647 h 3228"/>
                  <a:gd name="T40" fmla="*/ 2147483647 w 3423"/>
                  <a:gd name="T41" fmla="*/ 2147483647 h 3228"/>
                  <a:gd name="T42" fmla="*/ 2147483647 w 3423"/>
                  <a:gd name="T43" fmla="*/ 2147483647 h 3228"/>
                  <a:gd name="T44" fmla="*/ 2147483647 w 3423"/>
                  <a:gd name="T45" fmla="*/ 2147483647 h 3228"/>
                  <a:gd name="T46" fmla="*/ 2147483647 w 3423"/>
                  <a:gd name="T47" fmla="*/ 2147483647 h 3228"/>
                  <a:gd name="T48" fmla="*/ 2147483647 w 3423"/>
                  <a:gd name="T49" fmla="*/ 2147483647 h 3228"/>
                  <a:gd name="T50" fmla="*/ 2147483647 w 3423"/>
                  <a:gd name="T51" fmla="*/ 2147483647 h 3228"/>
                  <a:gd name="T52" fmla="*/ 2147483647 w 3423"/>
                  <a:gd name="T53" fmla="*/ 2147483647 h 3228"/>
                  <a:gd name="T54" fmla="*/ 2147483647 w 3423"/>
                  <a:gd name="T55" fmla="*/ 2147483647 h 3228"/>
                  <a:gd name="T56" fmla="*/ 2147483647 w 3423"/>
                  <a:gd name="T57" fmla="*/ 2147483647 h 3228"/>
                  <a:gd name="T58" fmla="*/ 2147483647 w 3423"/>
                  <a:gd name="T59" fmla="*/ 2147483647 h 3228"/>
                  <a:gd name="T60" fmla="*/ 2147483647 w 3423"/>
                  <a:gd name="T61" fmla="*/ 2147483647 h 3228"/>
                  <a:gd name="T62" fmla="*/ 2147483647 w 3423"/>
                  <a:gd name="T63" fmla="*/ 2147483647 h 3228"/>
                  <a:gd name="T64" fmla="*/ 2147483647 w 3423"/>
                  <a:gd name="T65" fmla="*/ 2147483647 h 3228"/>
                  <a:gd name="T66" fmla="*/ 2147483647 w 3423"/>
                  <a:gd name="T67" fmla="*/ 2147483647 h 3228"/>
                  <a:gd name="T68" fmla="*/ 2147483647 w 3423"/>
                  <a:gd name="T69" fmla="*/ 2147483647 h 3228"/>
                  <a:gd name="T70" fmla="*/ 2147483647 w 3423"/>
                  <a:gd name="T71" fmla="*/ 2147483647 h 3228"/>
                  <a:gd name="T72" fmla="*/ 2147483647 w 3423"/>
                  <a:gd name="T73" fmla="*/ 2147483647 h 3228"/>
                  <a:gd name="T74" fmla="*/ 2147483647 w 3423"/>
                  <a:gd name="T75" fmla="*/ 2147483647 h 3228"/>
                  <a:gd name="T76" fmla="*/ 2147483647 w 3423"/>
                  <a:gd name="T77" fmla="*/ 2147483647 h 3228"/>
                  <a:gd name="T78" fmla="*/ 2147483647 w 3423"/>
                  <a:gd name="T79" fmla="*/ 2147483647 h 3228"/>
                  <a:gd name="T80" fmla="*/ 2147483647 w 3423"/>
                  <a:gd name="T81" fmla="*/ 2147483647 h 3228"/>
                  <a:gd name="T82" fmla="*/ 2147483647 w 3423"/>
                  <a:gd name="T83" fmla="*/ 2147483647 h 3228"/>
                  <a:gd name="T84" fmla="*/ 2147483647 w 3423"/>
                  <a:gd name="T85" fmla="*/ 2147483647 h 3228"/>
                  <a:gd name="T86" fmla="*/ 2147483647 w 3423"/>
                  <a:gd name="T87" fmla="*/ 2147483647 h 3228"/>
                  <a:gd name="T88" fmla="*/ 2147483647 w 3423"/>
                  <a:gd name="T89" fmla="*/ 2147483647 h 3228"/>
                  <a:gd name="T90" fmla="*/ 2147483647 w 3423"/>
                  <a:gd name="T91" fmla="*/ 2147483647 h 3228"/>
                  <a:gd name="T92" fmla="*/ 2147483647 w 3423"/>
                  <a:gd name="T93" fmla="*/ 2147483647 h 3228"/>
                  <a:gd name="T94" fmla="*/ 2147483647 w 3423"/>
                  <a:gd name="T95" fmla="*/ 2147483647 h 3228"/>
                  <a:gd name="T96" fmla="*/ 2147483647 w 3423"/>
                  <a:gd name="T97" fmla="*/ 2147483647 h 3228"/>
                  <a:gd name="T98" fmla="*/ 2147483647 w 3423"/>
                  <a:gd name="T99" fmla="*/ 2147483647 h 3228"/>
                  <a:gd name="T100" fmla="*/ 2147483647 w 3423"/>
                  <a:gd name="T101" fmla="*/ 2147483647 h 3228"/>
                  <a:gd name="T102" fmla="*/ 2147483647 w 3423"/>
                  <a:gd name="T103" fmla="*/ 2147483647 h 3228"/>
                  <a:gd name="T104" fmla="*/ 2147483647 w 3423"/>
                  <a:gd name="T105" fmla="*/ 2147483647 h 322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3423"/>
                  <a:gd name="T160" fmla="*/ 0 h 3228"/>
                  <a:gd name="T161" fmla="*/ 3423 w 3423"/>
                  <a:gd name="T162" fmla="*/ 3228 h 3228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3423" h="3228">
                    <a:moveTo>
                      <a:pt x="2734" y="2179"/>
                    </a:moveTo>
                    <a:lnTo>
                      <a:pt x="2714" y="2182"/>
                    </a:lnTo>
                    <a:lnTo>
                      <a:pt x="2695" y="2190"/>
                    </a:lnTo>
                    <a:lnTo>
                      <a:pt x="2679" y="2202"/>
                    </a:lnTo>
                    <a:lnTo>
                      <a:pt x="2668" y="2218"/>
                    </a:lnTo>
                    <a:lnTo>
                      <a:pt x="2660" y="2236"/>
                    </a:lnTo>
                    <a:lnTo>
                      <a:pt x="2656" y="2257"/>
                    </a:lnTo>
                    <a:lnTo>
                      <a:pt x="2660" y="2278"/>
                    </a:lnTo>
                    <a:lnTo>
                      <a:pt x="2668" y="2297"/>
                    </a:lnTo>
                    <a:lnTo>
                      <a:pt x="2679" y="2312"/>
                    </a:lnTo>
                    <a:lnTo>
                      <a:pt x="2695" y="2325"/>
                    </a:lnTo>
                    <a:lnTo>
                      <a:pt x="2714" y="2332"/>
                    </a:lnTo>
                    <a:lnTo>
                      <a:pt x="2734" y="2335"/>
                    </a:lnTo>
                    <a:lnTo>
                      <a:pt x="2755" y="2332"/>
                    </a:lnTo>
                    <a:lnTo>
                      <a:pt x="2774" y="2325"/>
                    </a:lnTo>
                    <a:lnTo>
                      <a:pt x="2789" y="2312"/>
                    </a:lnTo>
                    <a:lnTo>
                      <a:pt x="2802" y="2297"/>
                    </a:lnTo>
                    <a:lnTo>
                      <a:pt x="2810" y="2278"/>
                    </a:lnTo>
                    <a:lnTo>
                      <a:pt x="2812" y="2257"/>
                    </a:lnTo>
                    <a:lnTo>
                      <a:pt x="2810" y="2236"/>
                    </a:lnTo>
                    <a:lnTo>
                      <a:pt x="2802" y="2218"/>
                    </a:lnTo>
                    <a:lnTo>
                      <a:pt x="2789" y="2202"/>
                    </a:lnTo>
                    <a:lnTo>
                      <a:pt x="2774" y="2190"/>
                    </a:lnTo>
                    <a:lnTo>
                      <a:pt x="2755" y="2182"/>
                    </a:lnTo>
                    <a:lnTo>
                      <a:pt x="2734" y="2179"/>
                    </a:lnTo>
                    <a:close/>
                    <a:moveTo>
                      <a:pt x="3079" y="2160"/>
                    </a:moveTo>
                    <a:lnTo>
                      <a:pt x="3057" y="2163"/>
                    </a:lnTo>
                    <a:lnTo>
                      <a:pt x="3036" y="2170"/>
                    </a:lnTo>
                    <a:lnTo>
                      <a:pt x="3018" y="2181"/>
                    </a:lnTo>
                    <a:lnTo>
                      <a:pt x="3003" y="2197"/>
                    </a:lnTo>
                    <a:lnTo>
                      <a:pt x="2991" y="2215"/>
                    </a:lnTo>
                    <a:lnTo>
                      <a:pt x="2984" y="2235"/>
                    </a:lnTo>
                    <a:lnTo>
                      <a:pt x="2982" y="2257"/>
                    </a:lnTo>
                    <a:lnTo>
                      <a:pt x="2984" y="2279"/>
                    </a:lnTo>
                    <a:lnTo>
                      <a:pt x="2991" y="2300"/>
                    </a:lnTo>
                    <a:lnTo>
                      <a:pt x="3003" y="2317"/>
                    </a:lnTo>
                    <a:lnTo>
                      <a:pt x="3018" y="2333"/>
                    </a:lnTo>
                    <a:lnTo>
                      <a:pt x="3036" y="2344"/>
                    </a:lnTo>
                    <a:lnTo>
                      <a:pt x="3057" y="2352"/>
                    </a:lnTo>
                    <a:lnTo>
                      <a:pt x="3079" y="2354"/>
                    </a:lnTo>
                    <a:lnTo>
                      <a:pt x="3100" y="2352"/>
                    </a:lnTo>
                    <a:lnTo>
                      <a:pt x="3121" y="2344"/>
                    </a:lnTo>
                    <a:lnTo>
                      <a:pt x="3139" y="2333"/>
                    </a:lnTo>
                    <a:lnTo>
                      <a:pt x="3154" y="2317"/>
                    </a:lnTo>
                    <a:lnTo>
                      <a:pt x="3166" y="2300"/>
                    </a:lnTo>
                    <a:lnTo>
                      <a:pt x="3173" y="2279"/>
                    </a:lnTo>
                    <a:lnTo>
                      <a:pt x="3175" y="2257"/>
                    </a:lnTo>
                    <a:lnTo>
                      <a:pt x="3173" y="2235"/>
                    </a:lnTo>
                    <a:lnTo>
                      <a:pt x="3166" y="2215"/>
                    </a:lnTo>
                    <a:lnTo>
                      <a:pt x="3154" y="2197"/>
                    </a:lnTo>
                    <a:lnTo>
                      <a:pt x="3139" y="2181"/>
                    </a:lnTo>
                    <a:lnTo>
                      <a:pt x="3121" y="2170"/>
                    </a:lnTo>
                    <a:lnTo>
                      <a:pt x="3100" y="2163"/>
                    </a:lnTo>
                    <a:lnTo>
                      <a:pt x="3079" y="2160"/>
                    </a:lnTo>
                    <a:close/>
                    <a:moveTo>
                      <a:pt x="280" y="230"/>
                    </a:moveTo>
                    <a:lnTo>
                      <a:pt x="263" y="233"/>
                    </a:lnTo>
                    <a:lnTo>
                      <a:pt x="250" y="240"/>
                    </a:lnTo>
                    <a:lnTo>
                      <a:pt x="239" y="251"/>
                    </a:lnTo>
                    <a:lnTo>
                      <a:pt x="232" y="264"/>
                    </a:lnTo>
                    <a:lnTo>
                      <a:pt x="229" y="281"/>
                    </a:lnTo>
                    <a:lnTo>
                      <a:pt x="229" y="2063"/>
                    </a:lnTo>
                    <a:lnTo>
                      <a:pt x="3194" y="2063"/>
                    </a:lnTo>
                    <a:lnTo>
                      <a:pt x="3194" y="281"/>
                    </a:lnTo>
                    <a:lnTo>
                      <a:pt x="3191" y="264"/>
                    </a:lnTo>
                    <a:lnTo>
                      <a:pt x="3183" y="251"/>
                    </a:lnTo>
                    <a:lnTo>
                      <a:pt x="3173" y="240"/>
                    </a:lnTo>
                    <a:lnTo>
                      <a:pt x="3160" y="233"/>
                    </a:lnTo>
                    <a:lnTo>
                      <a:pt x="3143" y="230"/>
                    </a:lnTo>
                    <a:lnTo>
                      <a:pt x="280" y="230"/>
                    </a:lnTo>
                    <a:close/>
                    <a:moveTo>
                      <a:pt x="1284" y="0"/>
                    </a:moveTo>
                    <a:lnTo>
                      <a:pt x="3143" y="0"/>
                    </a:lnTo>
                    <a:lnTo>
                      <a:pt x="3184" y="3"/>
                    </a:lnTo>
                    <a:lnTo>
                      <a:pt x="3224" y="13"/>
                    </a:lnTo>
                    <a:lnTo>
                      <a:pt x="3261" y="26"/>
                    </a:lnTo>
                    <a:lnTo>
                      <a:pt x="3295" y="46"/>
                    </a:lnTo>
                    <a:lnTo>
                      <a:pt x="3327" y="69"/>
                    </a:lnTo>
                    <a:lnTo>
                      <a:pt x="3355" y="97"/>
                    </a:lnTo>
                    <a:lnTo>
                      <a:pt x="3377" y="128"/>
                    </a:lnTo>
                    <a:lnTo>
                      <a:pt x="3397" y="162"/>
                    </a:lnTo>
                    <a:lnTo>
                      <a:pt x="3411" y="200"/>
                    </a:lnTo>
                    <a:lnTo>
                      <a:pt x="3420" y="239"/>
                    </a:lnTo>
                    <a:lnTo>
                      <a:pt x="3423" y="281"/>
                    </a:lnTo>
                    <a:lnTo>
                      <a:pt x="3423" y="2227"/>
                    </a:lnTo>
                    <a:lnTo>
                      <a:pt x="3420" y="2269"/>
                    </a:lnTo>
                    <a:lnTo>
                      <a:pt x="3411" y="2308"/>
                    </a:lnTo>
                    <a:lnTo>
                      <a:pt x="3397" y="2345"/>
                    </a:lnTo>
                    <a:lnTo>
                      <a:pt x="3377" y="2380"/>
                    </a:lnTo>
                    <a:lnTo>
                      <a:pt x="3355" y="2411"/>
                    </a:lnTo>
                    <a:lnTo>
                      <a:pt x="3327" y="2439"/>
                    </a:lnTo>
                    <a:lnTo>
                      <a:pt x="3295" y="2462"/>
                    </a:lnTo>
                    <a:lnTo>
                      <a:pt x="3261" y="2482"/>
                    </a:lnTo>
                    <a:lnTo>
                      <a:pt x="3224" y="2495"/>
                    </a:lnTo>
                    <a:lnTo>
                      <a:pt x="3184" y="2504"/>
                    </a:lnTo>
                    <a:lnTo>
                      <a:pt x="3143" y="2508"/>
                    </a:lnTo>
                    <a:lnTo>
                      <a:pt x="2183" y="2508"/>
                    </a:lnTo>
                    <a:lnTo>
                      <a:pt x="2183" y="2883"/>
                    </a:lnTo>
                    <a:lnTo>
                      <a:pt x="2335" y="2883"/>
                    </a:lnTo>
                    <a:lnTo>
                      <a:pt x="2366" y="2886"/>
                    </a:lnTo>
                    <a:lnTo>
                      <a:pt x="2395" y="2894"/>
                    </a:lnTo>
                    <a:lnTo>
                      <a:pt x="2422" y="2907"/>
                    </a:lnTo>
                    <a:lnTo>
                      <a:pt x="2446" y="2923"/>
                    </a:lnTo>
                    <a:lnTo>
                      <a:pt x="2467" y="2944"/>
                    </a:lnTo>
                    <a:lnTo>
                      <a:pt x="2483" y="2968"/>
                    </a:lnTo>
                    <a:lnTo>
                      <a:pt x="2496" y="2995"/>
                    </a:lnTo>
                    <a:lnTo>
                      <a:pt x="2504" y="3024"/>
                    </a:lnTo>
                    <a:lnTo>
                      <a:pt x="2507" y="3055"/>
                    </a:lnTo>
                    <a:lnTo>
                      <a:pt x="2504" y="3086"/>
                    </a:lnTo>
                    <a:lnTo>
                      <a:pt x="2496" y="3115"/>
                    </a:lnTo>
                    <a:lnTo>
                      <a:pt x="2483" y="3142"/>
                    </a:lnTo>
                    <a:lnTo>
                      <a:pt x="2467" y="3166"/>
                    </a:lnTo>
                    <a:lnTo>
                      <a:pt x="2446" y="3187"/>
                    </a:lnTo>
                    <a:lnTo>
                      <a:pt x="2422" y="3204"/>
                    </a:lnTo>
                    <a:lnTo>
                      <a:pt x="2395" y="3217"/>
                    </a:lnTo>
                    <a:lnTo>
                      <a:pt x="2366" y="3225"/>
                    </a:lnTo>
                    <a:lnTo>
                      <a:pt x="2335" y="3228"/>
                    </a:lnTo>
                    <a:lnTo>
                      <a:pt x="1088" y="3228"/>
                    </a:lnTo>
                    <a:lnTo>
                      <a:pt x="1057" y="3225"/>
                    </a:lnTo>
                    <a:lnTo>
                      <a:pt x="1028" y="3217"/>
                    </a:lnTo>
                    <a:lnTo>
                      <a:pt x="1001" y="3204"/>
                    </a:lnTo>
                    <a:lnTo>
                      <a:pt x="977" y="3187"/>
                    </a:lnTo>
                    <a:lnTo>
                      <a:pt x="956" y="3166"/>
                    </a:lnTo>
                    <a:lnTo>
                      <a:pt x="940" y="3142"/>
                    </a:lnTo>
                    <a:lnTo>
                      <a:pt x="927" y="3115"/>
                    </a:lnTo>
                    <a:lnTo>
                      <a:pt x="919" y="3086"/>
                    </a:lnTo>
                    <a:lnTo>
                      <a:pt x="916" y="3055"/>
                    </a:lnTo>
                    <a:lnTo>
                      <a:pt x="919" y="3024"/>
                    </a:lnTo>
                    <a:lnTo>
                      <a:pt x="927" y="2995"/>
                    </a:lnTo>
                    <a:lnTo>
                      <a:pt x="940" y="2968"/>
                    </a:lnTo>
                    <a:lnTo>
                      <a:pt x="956" y="2944"/>
                    </a:lnTo>
                    <a:lnTo>
                      <a:pt x="977" y="2923"/>
                    </a:lnTo>
                    <a:lnTo>
                      <a:pt x="1001" y="2907"/>
                    </a:lnTo>
                    <a:lnTo>
                      <a:pt x="1028" y="2894"/>
                    </a:lnTo>
                    <a:lnTo>
                      <a:pt x="1057" y="2886"/>
                    </a:lnTo>
                    <a:lnTo>
                      <a:pt x="1088" y="2883"/>
                    </a:lnTo>
                    <a:lnTo>
                      <a:pt x="1240" y="2883"/>
                    </a:lnTo>
                    <a:lnTo>
                      <a:pt x="1240" y="2508"/>
                    </a:lnTo>
                    <a:lnTo>
                      <a:pt x="280" y="2508"/>
                    </a:lnTo>
                    <a:lnTo>
                      <a:pt x="239" y="2504"/>
                    </a:lnTo>
                    <a:lnTo>
                      <a:pt x="199" y="2495"/>
                    </a:lnTo>
                    <a:lnTo>
                      <a:pt x="162" y="2482"/>
                    </a:lnTo>
                    <a:lnTo>
                      <a:pt x="128" y="2462"/>
                    </a:lnTo>
                    <a:lnTo>
                      <a:pt x="96" y="2439"/>
                    </a:lnTo>
                    <a:lnTo>
                      <a:pt x="68" y="2411"/>
                    </a:lnTo>
                    <a:lnTo>
                      <a:pt x="45" y="2380"/>
                    </a:lnTo>
                    <a:lnTo>
                      <a:pt x="26" y="2345"/>
                    </a:lnTo>
                    <a:lnTo>
                      <a:pt x="11" y="2308"/>
                    </a:lnTo>
                    <a:lnTo>
                      <a:pt x="3" y="2269"/>
                    </a:lnTo>
                    <a:lnTo>
                      <a:pt x="0" y="2227"/>
                    </a:lnTo>
                    <a:lnTo>
                      <a:pt x="0" y="281"/>
                    </a:lnTo>
                    <a:lnTo>
                      <a:pt x="3" y="239"/>
                    </a:lnTo>
                    <a:lnTo>
                      <a:pt x="11" y="200"/>
                    </a:lnTo>
                    <a:lnTo>
                      <a:pt x="26" y="162"/>
                    </a:lnTo>
                    <a:lnTo>
                      <a:pt x="45" y="128"/>
                    </a:lnTo>
                    <a:lnTo>
                      <a:pt x="68" y="97"/>
                    </a:lnTo>
                    <a:lnTo>
                      <a:pt x="96" y="69"/>
                    </a:lnTo>
                    <a:lnTo>
                      <a:pt x="128" y="46"/>
                    </a:lnTo>
                    <a:lnTo>
                      <a:pt x="162" y="26"/>
                    </a:lnTo>
                    <a:lnTo>
                      <a:pt x="199" y="13"/>
                    </a:lnTo>
                    <a:lnTo>
                      <a:pt x="239" y="3"/>
                    </a:lnTo>
                    <a:lnTo>
                      <a:pt x="280" y="0"/>
                    </a:lnTo>
                    <a:lnTo>
                      <a:pt x="1284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53" name="Freeform 6"/>
              <p:cNvSpPr>
                <a:spLocks noEditPoints="1"/>
              </p:cNvSpPr>
              <p:nvPr/>
            </p:nvSpPr>
            <p:spPr bwMode="auto">
              <a:xfrm>
                <a:off x="1184992" y="1675053"/>
                <a:ext cx="499549" cy="343287"/>
              </a:xfrm>
              <a:custGeom>
                <a:avLst/>
                <a:gdLst>
                  <a:gd name="T0" fmla="*/ 2147483647 w 3669"/>
                  <a:gd name="T1" fmla="*/ 2147483647 h 2520"/>
                  <a:gd name="T2" fmla="*/ 2147483647 w 3669"/>
                  <a:gd name="T3" fmla="*/ 2147483647 h 2520"/>
                  <a:gd name="T4" fmla="*/ 2147483647 w 3669"/>
                  <a:gd name="T5" fmla="*/ 2147483647 h 2520"/>
                  <a:gd name="T6" fmla="*/ 2147483647 w 3669"/>
                  <a:gd name="T7" fmla="*/ 2147483647 h 2520"/>
                  <a:gd name="T8" fmla="*/ 2147483647 w 3669"/>
                  <a:gd name="T9" fmla="*/ 2147483647 h 2520"/>
                  <a:gd name="T10" fmla="*/ 2147483647 w 3669"/>
                  <a:gd name="T11" fmla="*/ 2147483647 h 2520"/>
                  <a:gd name="T12" fmla="*/ 2147483647 w 3669"/>
                  <a:gd name="T13" fmla="*/ 2147483647 h 2520"/>
                  <a:gd name="T14" fmla="*/ 2147483647 w 3669"/>
                  <a:gd name="T15" fmla="*/ 2147483647 h 2520"/>
                  <a:gd name="T16" fmla="*/ 2147483647 w 3669"/>
                  <a:gd name="T17" fmla="*/ 2147483647 h 2520"/>
                  <a:gd name="T18" fmla="*/ 2147483647 w 3669"/>
                  <a:gd name="T19" fmla="*/ 2147483647 h 2520"/>
                  <a:gd name="T20" fmla="*/ 2147483647 w 3669"/>
                  <a:gd name="T21" fmla="*/ 2147483647 h 2520"/>
                  <a:gd name="T22" fmla="*/ 2147483647 w 3669"/>
                  <a:gd name="T23" fmla="*/ 2147483647 h 2520"/>
                  <a:gd name="T24" fmla="*/ 2147483647 w 3669"/>
                  <a:gd name="T25" fmla="*/ 2147483647 h 2520"/>
                  <a:gd name="T26" fmla="*/ 2147483647 w 3669"/>
                  <a:gd name="T27" fmla="*/ 2147483647 h 2520"/>
                  <a:gd name="T28" fmla="*/ 2147483647 w 3669"/>
                  <a:gd name="T29" fmla="*/ 2147483647 h 2520"/>
                  <a:gd name="T30" fmla="*/ 2147483647 w 3669"/>
                  <a:gd name="T31" fmla="*/ 2147483647 h 2520"/>
                  <a:gd name="T32" fmla="*/ 2147483647 w 3669"/>
                  <a:gd name="T33" fmla="*/ 2147483647 h 2520"/>
                  <a:gd name="T34" fmla="*/ 2147483647 w 3669"/>
                  <a:gd name="T35" fmla="*/ 2147483647 h 2520"/>
                  <a:gd name="T36" fmla="*/ 2147483647 w 3669"/>
                  <a:gd name="T37" fmla="*/ 2147483647 h 2520"/>
                  <a:gd name="T38" fmla="*/ 2147483647 w 3669"/>
                  <a:gd name="T39" fmla="*/ 2147483647 h 2520"/>
                  <a:gd name="T40" fmla="*/ 2147483647 w 3669"/>
                  <a:gd name="T41" fmla="*/ 2147483647 h 2520"/>
                  <a:gd name="T42" fmla="*/ 2147483647 w 3669"/>
                  <a:gd name="T43" fmla="*/ 2147483647 h 2520"/>
                  <a:gd name="T44" fmla="*/ 2147483647 w 3669"/>
                  <a:gd name="T45" fmla="*/ 2147483647 h 2520"/>
                  <a:gd name="T46" fmla="*/ 2147483647 w 3669"/>
                  <a:gd name="T47" fmla="*/ 2147483647 h 2520"/>
                  <a:gd name="T48" fmla="*/ 2147483647 w 3669"/>
                  <a:gd name="T49" fmla="*/ 2147483647 h 2520"/>
                  <a:gd name="T50" fmla="*/ 2147483647 w 3669"/>
                  <a:gd name="T51" fmla="*/ 2147483647 h 2520"/>
                  <a:gd name="T52" fmla="*/ 2147483647 w 3669"/>
                  <a:gd name="T53" fmla="*/ 2147483647 h 2520"/>
                  <a:gd name="T54" fmla="*/ 2147483647 w 3669"/>
                  <a:gd name="T55" fmla="*/ 2147483647 h 2520"/>
                  <a:gd name="T56" fmla="*/ 2147483647 w 3669"/>
                  <a:gd name="T57" fmla="*/ 2147483647 h 2520"/>
                  <a:gd name="T58" fmla="*/ 2147483647 w 3669"/>
                  <a:gd name="T59" fmla="*/ 2147483647 h 2520"/>
                  <a:gd name="T60" fmla="*/ 2147483647 w 3669"/>
                  <a:gd name="T61" fmla="*/ 2147483647 h 2520"/>
                  <a:gd name="T62" fmla="*/ 2147483647 w 3669"/>
                  <a:gd name="T63" fmla="*/ 2147483647 h 2520"/>
                  <a:gd name="T64" fmla="*/ 2147483647 w 3669"/>
                  <a:gd name="T65" fmla="*/ 2147483647 h 2520"/>
                  <a:gd name="T66" fmla="*/ 2147483647 w 3669"/>
                  <a:gd name="T67" fmla="*/ 2147483647 h 2520"/>
                  <a:gd name="T68" fmla="*/ 2147483647 w 3669"/>
                  <a:gd name="T69" fmla="*/ 2147483647 h 2520"/>
                  <a:gd name="T70" fmla="*/ 2147483647 w 3669"/>
                  <a:gd name="T71" fmla="*/ 2147483647 h 2520"/>
                  <a:gd name="T72" fmla="*/ 2147483647 w 3669"/>
                  <a:gd name="T73" fmla="*/ 2147483647 h 2520"/>
                  <a:gd name="T74" fmla="*/ 2147483647 w 3669"/>
                  <a:gd name="T75" fmla="*/ 2147483647 h 2520"/>
                  <a:gd name="T76" fmla="*/ 2147483647 w 3669"/>
                  <a:gd name="T77" fmla="*/ 2147483647 h 2520"/>
                  <a:gd name="T78" fmla="*/ 2147483647 w 3669"/>
                  <a:gd name="T79" fmla="*/ 2147483647 h 2520"/>
                  <a:gd name="T80" fmla="*/ 2147483647 w 3669"/>
                  <a:gd name="T81" fmla="*/ 2147483647 h 2520"/>
                  <a:gd name="T82" fmla="*/ 2147483647 w 3669"/>
                  <a:gd name="T83" fmla="*/ 2147483647 h 2520"/>
                  <a:gd name="T84" fmla="*/ 2147483647 w 3669"/>
                  <a:gd name="T85" fmla="*/ 2147483647 h 2520"/>
                  <a:gd name="T86" fmla="*/ 2147483647 w 3669"/>
                  <a:gd name="T87" fmla="*/ 2147483647 h 2520"/>
                  <a:gd name="T88" fmla="*/ 2147483647 w 3669"/>
                  <a:gd name="T89" fmla="*/ 2147483647 h 2520"/>
                  <a:gd name="T90" fmla="*/ 2147483647 w 3669"/>
                  <a:gd name="T91" fmla="*/ 2147483647 h 2520"/>
                  <a:gd name="T92" fmla="*/ 2147483647 w 3669"/>
                  <a:gd name="T93" fmla="*/ 2147483647 h 2520"/>
                  <a:gd name="T94" fmla="*/ 2147483647 w 3669"/>
                  <a:gd name="T95" fmla="*/ 2147483647 h 2520"/>
                  <a:gd name="T96" fmla="*/ 2147483647 w 3669"/>
                  <a:gd name="T97" fmla="*/ 2147483647 h 2520"/>
                  <a:gd name="T98" fmla="*/ 2147483647 w 3669"/>
                  <a:gd name="T99" fmla="*/ 2147483647 h 2520"/>
                  <a:gd name="T100" fmla="*/ 2147483647 w 3669"/>
                  <a:gd name="T101" fmla="*/ 2147483647 h 2520"/>
                  <a:gd name="T102" fmla="*/ 2147483647 w 3669"/>
                  <a:gd name="T103" fmla="*/ 2147483647 h 2520"/>
                  <a:gd name="T104" fmla="*/ 2147483647 w 3669"/>
                  <a:gd name="T105" fmla="*/ 2147483647 h 252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3669"/>
                  <a:gd name="T160" fmla="*/ 0 h 2520"/>
                  <a:gd name="T161" fmla="*/ 3669 w 3669"/>
                  <a:gd name="T162" fmla="*/ 2520 h 252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3669" h="2520">
                    <a:moveTo>
                      <a:pt x="2179" y="1718"/>
                    </a:moveTo>
                    <a:lnTo>
                      <a:pt x="2152" y="1722"/>
                    </a:lnTo>
                    <a:lnTo>
                      <a:pt x="2129" y="1731"/>
                    </a:lnTo>
                    <a:lnTo>
                      <a:pt x="2107" y="1744"/>
                    </a:lnTo>
                    <a:lnTo>
                      <a:pt x="2090" y="1762"/>
                    </a:lnTo>
                    <a:lnTo>
                      <a:pt x="2075" y="1783"/>
                    </a:lnTo>
                    <a:lnTo>
                      <a:pt x="2068" y="1806"/>
                    </a:lnTo>
                    <a:lnTo>
                      <a:pt x="2064" y="1833"/>
                    </a:lnTo>
                    <a:lnTo>
                      <a:pt x="2068" y="1860"/>
                    </a:lnTo>
                    <a:lnTo>
                      <a:pt x="2075" y="1883"/>
                    </a:lnTo>
                    <a:lnTo>
                      <a:pt x="2090" y="1905"/>
                    </a:lnTo>
                    <a:lnTo>
                      <a:pt x="2107" y="1922"/>
                    </a:lnTo>
                    <a:lnTo>
                      <a:pt x="2129" y="1936"/>
                    </a:lnTo>
                    <a:lnTo>
                      <a:pt x="2152" y="1945"/>
                    </a:lnTo>
                    <a:lnTo>
                      <a:pt x="2179" y="1948"/>
                    </a:lnTo>
                    <a:lnTo>
                      <a:pt x="3211" y="1948"/>
                    </a:lnTo>
                    <a:lnTo>
                      <a:pt x="3237" y="1945"/>
                    </a:lnTo>
                    <a:lnTo>
                      <a:pt x="3261" y="1936"/>
                    </a:lnTo>
                    <a:lnTo>
                      <a:pt x="3282" y="1922"/>
                    </a:lnTo>
                    <a:lnTo>
                      <a:pt x="3300" y="1905"/>
                    </a:lnTo>
                    <a:lnTo>
                      <a:pt x="3313" y="1883"/>
                    </a:lnTo>
                    <a:lnTo>
                      <a:pt x="3322" y="1860"/>
                    </a:lnTo>
                    <a:lnTo>
                      <a:pt x="3326" y="1833"/>
                    </a:lnTo>
                    <a:lnTo>
                      <a:pt x="3322" y="1806"/>
                    </a:lnTo>
                    <a:lnTo>
                      <a:pt x="3313" y="1783"/>
                    </a:lnTo>
                    <a:lnTo>
                      <a:pt x="3300" y="1762"/>
                    </a:lnTo>
                    <a:lnTo>
                      <a:pt x="3282" y="1744"/>
                    </a:lnTo>
                    <a:lnTo>
                      <a:pt x="3261" y="1731"/>
                    </a:lnTo>
                    <a:lnTo>
                      <a:pt x="3237" y="1722"/>
                    </a:lnTo>
                    <a:lnTo>
                      <a:pt x="3211" y="1718"/>
                    </a:lnTo>
                    <a:lnTo>
                      <a:pt x="2179" y="1718"/>
                    </a:lnTo>
                    <a:close/>
                    <a:moveTo>
                      <a:pt x="653" y="1375"/>
                    </a:moveTo>
                    <a:lnTo>
                      <a:pt x="629" y="1380"/>
                    </a:lnTo>
                    <a:lnTo>
                      <a:pt x="605" y="1393"/>
                    </a:lnTo>
                    <a:lnTo>
                      <a:pt x="557" y="1427"/>
                    </a:lnTo>
                    <a:lnTo>
                      <a:pt x="515" y="1464"/>
                    </a:lnTo>
                    <a:lnTo>
                      <a:pt x="479" y="1502"/>
                    </a:lnTo>
                    <a:lnTo>
                      <a:pt x="447" y="1540"/>
                    </a:lnTo>
                    <a:lnTo>
                      <a:pt x="421" y="1579"/>
                    </a:lnTo>
                    <a:lnTo>
                      <a:pt x="399" y="1617"/>
                    </a:lnTo>
                    <a:lnTo>
                      <a:pt x="381" y="1656"/>
                    </a:lnTo>
                    <a:lnTo>
                      <a:pt x="366" y="1694"/>
                    </a:lnTo>
                    <a:lnTo>
                      <a:pt x="356" y="1731"/>
                    </a:lnTo>
                    <a:lnTo>
                      <a:pt x="349" y="1766"/>
                    </a:lnTo>
                    <a:lnTo>
                      <a:pt x="345" y="1801"/>
                    </a:lnTo>
                    <a:lnTo>
                      <a:pt x="344" y="1833"/>
                    </a:lnTo>
                    <a:lnTo>
                      <a:pt x="344" y="1838"/>
                    </a:lnTo>
                    <a:lnTo>
                      <a:pt x="344" y="1848"/>
                    </a:lnTo>
                    <a:lnTo>
                      <a:pt x="344" y="1863"/>
                    </a:lnTo>
                    <a:lnTo>
                      <a:pt x="344" y="1881"/>
                    </a:lnTo>
                    <a:lnTo>
                      <a:pt x="344" y="1900"/>
                    </a:lnTo>
                    <a:lnTo>
                      <a:pt x="344" y="1918"/>
                    </a:lnTo>
                    <a:lnTo>
                      <a:pt x="344" y="1933"/>
                    </a:lnTo>
                    <a:lnTo>
                      <a:pt x="344" y="1944"/>
                    </a:lnTo>
                    <a:lnTo>
                      <a:pt x="344" y="1948"/>
                    </a:lnTo>
                    <a:lnTo>
                      <a:pt x="345" y="1987"/>
                    </a:lnTo>
                    <a:lnTo>
                      <a:pt x="349" y="2023"/>
                    </a:lnTo>
                    <a:lnTo>
                      <a:pt x="356" y="2054"/>
                    </a:lnTo>
                    <a:lnTo>
                      <a:pt x="365" y="2081"/>
                    </a:lnTo>
                    <a:lnTo>
                      <a:pt x="377" y="2104"/>
                    </a:lnTo>
                    <a:lnTo>
                      <a:pt x="394" y="2124"/>
                    </a:lnTo>
                    <a:lnTo>
                      <a:pt x="413" y="2141"/>
                    </a:lnTo>
                    <a:lnTo>
                      <a:pt x="436" y="2154"/>
                    </a:lnTo>
                    <a:lnTo>
                      <a:pt x="464" y="2164"/>
                    </a:lnTo>
                    <a:lnTo>
                      <a:pt x="497" y="2171"/>
                    </a:lnTo>
                    <a:lnTo>
                      <a:pt x="533" y="2176"/>
                    </a:lnTo>
                    <a:lnTo>
                      <a:pt x="574" y="2177"/>
                    </a:lnTo>
                    <a:lnTo>
                      <a:pt x="1490" y="2177"/>
                    </a:lnTo>
                    <a:lnTo>
                      <a:pt x="1532" y="2176"/>
                    </a:lnTo>
                    <a:lnTo>
                      <a:pt x="1568" y="2171"/>
                    </a:lnTo>
                    <a:lnTo>
                      <a:pt x="1600" y="2164"/>
                    </a:lnTo>
                    <a:lnTo>
                      <a:pt x="1628" y="2154"/>
                    </a:lnTo>
                    <a:lnTo>
                      <a:pt x="1651" y="2141"/>
                    </a:lnTo>
                    <a:lnTo>
                      <a:pt x="1670" y="2124"/>
                    </a:lnTo>
                    <a:lnTo>
                      <a:pt x="1687" y="2104"/>
                    </a:lnTo>
                    <a:lnTo>
                      <a:pt x="1699" y="2081"/>
                    </a:lnTo>
                    <a:lnTo>
                      <a:pt x="1709" y="2054"/>
                    </a:lnTo>
                    <a:lnTo>
                      <a:pt x="1715" y="2023"/>
                    </a:lnTo>
                    <a:lnTo>
                      <a:pt x="1719" y="1987"/>
                    </a:lnTo>
                    <a:lnTo>
                      <a:pt x="1720" y="1948"/>
                    </a:lnTo>
                    <a:lnTo>
                      <a:pt x="1720" y="1944"/>
                    </a:lnTo>
                    <a:lnTo>
                      <a:pt x="1720" y="1933"/>
                    </a:lnTo>
                    <a:lnTo>
                      <a:pt x="1720" y="1918"/>
                    </a:lnTo>
                    <a:lnTo>
                      <a:pt x="1720" y="1900"/>
                    </a:lnTo>
                    <a:lnTo>
                      <a:pt x="1720" y="1881"/>
                    </a:lnTo>
                    <a:lnTo>
                      <a:pt x="1720" y="1863"/>
                    </a:lnTo>
                    <a:lnTo>
                      <a:pt x="1720" y="1848"/>
                    </a:lnTo>
                    <a:lnTo>
                      <a:pt x="1720" y="1838"/>
                    </a:lnTo>
                    <a:lnTo>
                      <a:pt x="1720" y="1833"/>
                    </a:lnTo>
                    <a:lnTo>
                      <a:pt x="1719" y="1803"/>
                    </a:lnTo>
                    <a:lnTo>
                      <a:pt x="1716" y="1771"/>
                    </a:lnTo>
                    <a:lnTo>
                      <a:pt x="1711" y="1736"/>
                    </a:lnTo>
                    <a:lnTo>
                      <a:pt x="1704" y="1702"/>
                    </a:lnTo>
                    <a:lnTo>
                      <a:pt x="1692" y="1665"/>
                    </a:lnTo>
                    <a:lnTo>
                      <a:pt x="1679" y="1629"/>
                    </a:lnTo>
                    <a:lnTo>
                      <a:pt x="1661" y="1592"/>
                    </a:lnTo>
                    <a:lnTo>
                      <a:pt x="1639" y="1556"/>
                    </a:lnTo>
                    <a:lnTo>
                      <a:pt x="1613" y="1520"/>
                    </a:lnTo>
                    <a:lnTo>
                      <a:pt x="1582" y="1485"/>
                    </a:lnTo>
                    <a:lnTo>
                      <a:pt x="1547" y="1453"/>
                    </a:lnTo>
                    <a:lnTo>
                      <a:pt x="1506" y="1422"/>
                    </a:lnTo>
                    <a:lnTo>
                      <a:pt x="1459" y="1393"/>
                    </a:lnTo>
                    <a:lnTo>
                      <a:pt x="1432" y="1380"/>
                    </a:lnTo>
                    <a:lnTo>
                      <a:pt x="1406" y="1376"/>
                    </a:lnTo>
                    <a:lnTo>
                      <a:pt x="1379" y="1377"/>
                    </a:lnTo>
                    <a:lnTo>
                      <a:pt x="1352" y="1384"/>
                    </a:lnTo>
                    <a:lnTo>
                      <a:pt x="1325" y="1395"/>
                    </a:lnTo>
                    <a:lnTo>
                      <a:pt x="1297" y="1411"/>
                    </a:lnTo>
                    <a:lnTo>
                      <a:pt x="1269" y="1431"/>
                    </a:lnTo>
                    <a:lnTo>
                      <a:pt x="1240" y="1453"/>
                    </a:lnTo>
                    <a:lnTo>
                      <a:pt x="1210" y="1479"/>
                    </a:lnTo>
                    <a:lnTo>
                      <a:pt x="1179" y="1505"/>
                    </a:lnTo>
                    <a:lnTo>
                      <a:pt x="1147" y="1534"/>
                    </a:lnTo>
                    <a:lnTo>
                      <a:pt x="1114" y="1568"/>
                    </a:lnTo>
                    <a:lnTo>
                      <a:pt x="1112" y="1569"/>
                    </a:lnTo>
                    <a:lnTo>
                      <a:pt x="1105" y="1574"/>
                    </a:lnTo>
                    <a:lnTo>
                      <a:pt x="1096" y="1582"/>
                    </a:lnTo>
                    <a:lnTo>
                      <a:pt x="1084" y="1590"/>
                    </a:lnTo>
                    <a:lnTo>
                      <a:pt x="1068" y="1597"/>
                    </a:lnTo>
                    <a:lnTo>
                      <a:pt x="1052" y="1602"/>
                    </a:lnTo>
                    <a:lnTo>
                      <a:pt x="1033" y="1605"/>
                    </a:lnTo>
                    <a:lnTo>
                      <a:pt x="1015" y="1602"/>
                    </a:lnTo>
                    <a:lnTo>
                      <a:pt x="998" y="1597"/>
                    </a:lnTo>
                    <a:lnTo>
                      <a:pt x="982" y="1590"/>
                    </a:lnTo>
                    <a:lnTo>
                      <a:pt x="970" y="1582"/>
                    </a:lnTo>
                    <a:lnTo>
                      <a:pt x="960" y="1576"/>
                    </a:lnTo>
                    <a:lnTo>
                      <a:pt x="953" y="1570"/>
                    </a:lnTo>
                    <a:lnTo>
                      <a:pt x="951" y="1568"/>
                    </a:lnTo>
                    <a:lnTo>
                      <a:pt x="918" y="1534"/>
                    </a:lnTo>
                    <a:lnTo>
                      <a:pt x="885" y="1505"/>
                    </a:lnTo>
                    <a:lnTo>
                      <a:pt x="853" y="1479"/>
                    </a:lnTo>
                    <a:lnTo>
                      <a:pt x="822" y="1453"/>
                    </a:lnTo>
                    <a:lnTo>
                      <a:pt x="792" y="1431"/>
                    </a:lnTo>
                    <a:lnTo>
                      <a:pt x="761" y="1411"/>
                    </a:lnTo>
                    <a:lnTo>
                      <a:pt x="733" y="1395"/>
                    </a:lnTo>
                    <a:lnTo>
                      <a:pt x="706" y="1383"/>
                    </a:lnTo>
                    <a:lnTo>
                      <a:pt x="679" y="1376"/>
                    </a:lnTo>
                    <a:lnTo>
                      <a:pt x="653" y="1375"/>
                    </a:lnTo>
                    <a:close/>
                    <a:moveTo>
                      <a:pt x="2179" y="1146"/>
                    </a:moveTo>
                    <a:lnTo>
                      <a:pt x="2152" y="1148"/>
                    </a:lnTo>
                    <a:lnTo>
                      <a:pt x="2129" y="1157"/>
                    </a:lnTo>
                    <a:lnTo>
                      <a:pt x="2107" y="1171"/>
                    </a:lnTo>
                    <a:lnTo>
                      <a:pt x="2090" y="1189"/>
                    </a:lnTo>
                    <a:lnTo>
                      <a:pt x="2075" y="1210"/>
                    </a:lnTo>
                    <a:lnTo>
                      <a:pt x="2068" y="1234"/>
                    </a:lnTo>
                    <a:lnTo>
                      <a:pt x="2064" y="1260"/>
                    </a:lnTo>
                    <a:lnTo>
                      <a:pt x="2068" y="1287"/>
                    </a:lnTo>
                    <a:lnTo>
                      <a:pt x="2075" y="1311"/>
                    </a:lnTo>
                    <a:lnTo>
                      <a:pt x="2090" y="1332"/>
                    </a:lnTo>
                    <a:lnTo>
                      <a:pt x="2107" y="1350"/>
                    </a:lnTo>
                    <a:lnTo>
                      <a:pt x="2129" y="1364"/>
                    </a:lnTo>
                    <a:lnTo>
                      <a:pt x="2152" y="1372"/>
                    </a:lnTo>
                    <a:lnTo>
                      <a:pt x="2179" y="1375"/>
                    </a:lnTo>
                    <a:lnTo>
                      <a:pt x="3211" y="1375"/>
                    </a:lnTo>
                    <a:lnTo>
                      <a:pt x="3237" y="1372"/>
                    </a:lnTo>
                    <a:lnTo>
                      <a:pt x="3261" y="1364"/>
                    </a:lnTo>
                    <a:lnTo>
                      <a:pt x="3282" y="1350"/>
                    </a:lnTo>
                    <a:lnTo>
                      <a:pt x="3300" y="1332"/>
                    </a:lnTo>
                    <a:lnTo>
                      <a:pt x="3313" y="1311"/>
                    </a:lnTo>
                    <a:lnTo>
                      <a:pt x="3322" y="1287"/>
                    </a:lnTo>
                    <a:lnTo>
                      <a:pt x="3326" y="1260"/>
                    </a:lnTo>
                    <a:lnTo>
                      <a:pt x="3322" y="1234"/>
                    </a:lnTo>
                    <a:lnTo>
                      <a:pt x="3313" y="1210"/>
                    </a:lnTo>
                    <a:lnTo>
                      <a:pt x="3300" y="1189"/>
                    </a:lnTo>
                    <a:lnTo>
                      <a:pt x="3282" y="1171"/>
                    </a:lnTo>
                    <a:lnTo>
                      <a:pt x="3261" y="1157"/>
                    </a:lnTo>
                    <a:lnTo>
                      <a:pt x="3237" y="1148"/>
                    </a:lnTo>
                    <a:lnTo>
                      <a:pt x="3211" y="1146"/>
                    </a:lnTo>
                    <a:lnTo>
                      <a:pt x="2179" y="1146"/>
                    </a:lnTo>
                    <a:close/>
                    <a:moveTo>
                      <a:pt x="2179" y="573"/>
                    </a:moveTo>
                    <a:lnTo>
                      <a:pt x="2152" y="576"/>
                    </a:lnTo>
                    <a:lnTo>
                      <a:pt x="2129" y="584"/>
                    </a:lnTo>
                    <a:lnTo>
                      <a:pt x="2107" y="599"/>
                    </a:lnTo>
                    <a:lnTo>
                      <a:pt x="2090" y="616"/>
                    </a:lnTo>
                    <a:lnTo>
                      <a:pt x="2075" y="638"/>
                    </a:lnTo>
                    <a:lnTo>
                      <a:pt x="2068" y="661"/>
                    </a:lnTo>
                    <a:lnTo>
                      <a:pt x="2064" y="688"/>
                    </a:lnTo>
                    <a:lnTo>
                      <a:pt x="2068" y="713"/>
                    </a:lnTo>
                    <a:lnTo>
                      <a:pt x="2075" y="738"/>
                    </a:lnTo>
                    <a:lnTo>
                      <a:pt x="2090" y="759"/>
                    </a:lnTo>
                    <a:lnTo>
                      <a:pt x="2107" y="777"/>
                    </a:lnTo>
                    <a:lnTo>
                      <a:pt x="2129" y="790"/>
                    </a:lnTo>
                    <a:lnTo>
                      <a:pt x="2152" y="799"/>
                    </a:lnTo>
                    <a:lnTo>
                      <a:pt x="2179" y="803"/>
                    </a:lnTo>
                    <a:lnTo>
                      <a:pt x="3211" y="803"/>
                    </a:lnTo>
                    <a:lnTo>
                      <a:pt x="3237" y="799"/>
                    </a:lnTo>
                    <a:lnTo>
                      <a:pt x="3261" y="790"/>
                    </a:lnTo>
                    <a:lnTo>
                      <a:pt x="3282" y="777"/>
                    </a:lnTo>
                    <a:lnTo>
                      <a:pt x="3300" y="759"/>
                    </a:lnTo>
                    <a:lnTo>
                      <a:pt x="3313" y="738"/>
                    </a:lnTo>
                    <a:lnTo>
                      <a:pt x="3322" y="713"/>
                    </a:lnTo>
                    <a:lnTo>
                      <a:pt x="3326" y="688"/>
                    </a:lnTo>
                    <a:lnTo>
                      <a:pt x="3322" y="661"/>
                    </a:lnTo>
                    <a:lnTo>
                      <a:pt x="3313" y="638"/>
                    </a:lnTo>
                    <a:lnTo>
                      <a:pt x="3300" y="616"/>
                    </a:lnTo>
                    <a:lnTo>
                      <a:pt x="3282" y="599"/>
                    </a:lnTo>
                    <a:lnTo>
                      <a:pt x="3261" y="584"/>
                    </a:lnTo>
                    <a:lnTo>
                      <a:pt x="3237" y="576"/>
                    </a:lnTo>
                    <a:lnTo>
                      <a:pt x="3211" y="573"/>
                    </a:lnTo>
                    <a:lnTo>
                      <a:pt x="2179" y="573"/>
                    </a:lnTo>
                    <a:close/>
                    <a:moveTo>
                      <a:pt x="1032" y="344"/>
                    </a:moveTo>
                    <a:lnTo>
                      <a:pt x="1000" y="345"/>
                    </a:lnTo>
                    <a:lnTo>
                      <a:pt x="968" y="350"/>
                    </a:lnTo>
                    <a:lnTo>
                      <a:pt x="936" y="358"/>
                    </a:lnTo>
                    <a:lnTo>
                      <a:pt x="904" y="370"/>
                    </a:lnTo>
                    <a:lnTo>
                      <a:pt x="873" y="384"/>
                    </a:lnTo>
                    <a:lnTo>
                      <a:pt x="843" y="401"/>
                    </a:lnTo>
                    <a:lnTo>
                      <a:pt x="815" y="422"/>
                    </a:lnTo>
                    <a:lnTo>
                      <a:pt x="788" y="447"/>
                    </a:lnTo>
                    <a:lnTo>
                      <a:pt x="764" y="475"/>
                    </a:lnTo>
                    <a:lnTo>
                      <a:pt x="742" y="506"/>
                    </a:lnTo>
                    <a:lnTo>
                      <a:pt x="723" y="539"/>
                    </a:lnTo>
                    <a:lnTo>
                      <a:pt x="709" y="577"/>
                    </a:lnTo>
                    <a:lnTo>
                      <a:pt x="698" y="619"/>
                    </a:lnTo>
                    <a:lnTo>
                      <a:pt x="691" y="662"/>
                    </a:lnTo>
                    <a:lnTo>
                      <a:pt x="688" y="710"/>
                    </a:lnTo>
                    <a:lnTo>
                      <a:pt x="688" y="894"/>
                    </a:lnTo>
                    <a:lnTo>
                      <a:pt x="691" y="937"/>
                    </a:lnTo>
                    <a:lnTo>
                      <a:pt x="698" y="976"/>
                    </a:lnTo>
                    <a:lnTo>
                      <a:pt x="710" y="1012"/>
                    </a:lnTo>
                    <a:lnTo>
                      <a:pt x="726" y="1047"/>
                    </a:lnTo>
                    <a:lnTo>
                      <a:pt x="743" y="1079"/>
                    </a:lnTo>
                    <a:lnTo>
                      <a:pt x="765" y="1108"/>
                    </a:lnTo>
                    <a:lnTo>
                      <a:pt x="789" y="1135"/>
                    </a:lnTo>
                    <a:lnTo>
                      <a:pt x="814" y="1158"/>
                    </a:lnTo>
                    <a:lnTo>
                      <a:pt x="841" y="1181"/>
                    </a:lnTo>
                    <a:lnTo>
                      <a:pt x="867" y="1199"/>
                    </a:lnTo>
                    <a:lnTo>
                      <a:pt x="895" y="1215"/>
                    </a:lnTo>
                    <a:lnTo>
                      <a:pt x="922" y="1229"/>
                    </a:lnTo>
                    <a:lnTo>
                      <a:pt x="948" y="1241"/>
                    </a:lnTo>
                    <a:lnTo>
                      <a:pt x="972" y="1249"/>
                    </a:lnTo>
                    <a:lnTo>
                      <a:pt x="995" y="1256"/>
                    </a:lnTo>
                    <a:lnTo>
                      <a:pt x="1015" y="1259"/>
                    </a:lnTo>
                    <a:lnTo>
                      <a:pt x="1032" y="1260"/>
                    </a:lnTo>
                    <a:lnTo>
                      <a:pt x="1050" y="1259"/>
                    </a:lnTo>
                    <a:lnTo>
                      <a:pt x="1073" y="1254"/>
                    </a:lnTo>
                    <a:lnTo>
                      <a:pt x="1097" y="1248"/>
                    </a:lnTo>
                    <a:lnTo>
                      <a:pt x="1124" y="1238"/>
                    </a:lnTo>
                    <a:lnTo>
                      <a:pt x="1152" y="1225"/>
                    </a:lnTo>
                    <a:lnTo>
                      <a:pt x="1181" y="1210"/>
                    </a:lnTo>
                    <a:lnTo>
                      <a:pt x="1210" y="1191"/>
                    </a:lnTo>
                    <a:lnTo>
                      <a:pt x="1238" y="1170"/>
                    </a:lnTo>
                    <a:lnTo>
                      <a:pt x="1265" y="1146"/>
                    </a:lnTo>
                    <a:lnTo>
                      <a:pt x="1291" y="1118"/>
                    </a:lnTo>
                    <a:lnTo>
                      <a:pt x="1314" y="1088"/>
                    </a:lnTo>
                    <a:lnTo>
                      <a:pt x="1335" y="1056"/>
                    </a:lnTo>
                    <a:lnTo>
                      <a:pt x="1352" y="1019"/>
                    </a:lnTo>
                    <a:lnTo>
                      <a:pt x="1364" y="980"/>
                    </a:lnTo>
                    <a:lnTo>
                      <a:pt x="1373" y="939"/>
                    </a:lnTo>
                    <a:lnTo>
                      <a:pt x="1375" y="894"/>
                    </a:lnTo>
                    <a:lnTo>
                      <a:pt x="1375" y="710"/>
                    </a:lnTo>
                    <a:lnTo>
                      <a:pt x="1373" y="662"/>
                    </a:lnTo>
                    <a:lnTo>
                      <a:pt x="1366" y="619"/>
                    </a:lnTo>
                    <a:lnTo>
                      <a:pt x="1355" y="577"/>
                    </a:lnTo>
                    <a:lnTo>
                      <a:pt x="1341" y="539"/>
                    </a:lnTo>
                    <a:lnTo>
                      <a:pt x="1323" y="506"/>
                    </a:lnTo>
                    <a:lnTo>
                      <a:pt x="1302" y="475"/>
                    </a:lnTo>
                    <a:lnTo>
                      <a:pt x="1277" y="447"/>
                    </a:lnTo>
                    <a:lnTo>
                      <a:pt x="1251" y="422"/>
                    </a:lnTo>
                    <a:lnTo>
                      <a:pt x="1222" y="401"/>
                    </a:lnTo>
                    <a:lnTo>
                      <a:pt x="1193" y="384"/>
                    </a:lnTo>
                    <a:lnTo>
                      <a:pt x="1162" y="370"/>
                    </a:lnTo>
                    <a:lnTo>
                      <a:pt x="1130" y="358"/>
                    </a:lnTo>
                    <a:lnTo>
                      <a:pt x="1097" y="350"/>
                    </a:lnTo>
                    <a:lnTo>
                      <a:pt x="1064" y="345"/>
                    </a:lnTo>
                    <a:lnTo>
                      <a:pt x="1032" y="344"/>
                    </a:lnTo>
                    <a:close/>
                    <a:moveTo>
                      <a:pt x="367" y="0"/>
                    </a:moveTo>
                    <a:lnTo>
                      <a:pt x="3302" y="0"/>
                    </a:lnTo>
                    <a:lnTo>
                      <a:pt x="3352" y="3"/>
                    </a:lnTo>
                    <a:lnTo>
                      <a:pt x="3400" y="13"/>
                    </a:lnTo>
                    <a:lnTo>
                      <a:pt x="3445" y="29"/>
                    </a:lnTo>
                    <a:lnTo>
                      <a:pt x="3488" y="50"/>
                    </a:lnTo>
                    <a:lnTo>
                      <a:pt x="3527" y="76"/>
                    </a:lnTo>
                    <a:lnTo>
                      <a:pt x="3562" y="106"/>
                    </a:lnTo>
                    <a:lnTo>
                      <a:pt x="3594" y="140"/>
                    </a:lnTo>
                    <a:lnTo>
                      <a:pt x="3619" y="178"/>
                    </a:lnTo>
                    <a:lnTo>
                      <a:pt x="3640" y="221"/>
                    </a:lnTo>
                    <a:lnTo>
                      <a:pt x="3656" y="264"/>
                    </a:lnTo>
                    <a:lnTo>
                      <a:pt x="3666" y="311"/>
                    </a:lnTo>
                    <a:lnTo>
                      <a:pt x="3669" y="360"/>
                    </a:lnTo>
                    <a:lnTo>
                      <a:pt x="3669" y="2160"/>
                    </a:lnTo>
                    <a:lnTo>
                      <a:pt x="3666" y="2209"/>
                    </a:lnTo>
                    <a:lnTo>
                      <a:pt x="3656" y="2256"/>
                    </a:lnTo>
                    <a:lnTo>
                      <a:pt x="3640" y="2301"/>
                    </a:lnTo>
                    <a:lnTo>
                      <a:pt x="3619" y="2342"/>
                    </a:lnTo>
                    <a:lnTo>
                      <a:pt x="3594" y="2381"/>
                    </a:lnTo>
                    <a:lnTo>
                      <a:pt x="3562" y="2415"/>
                    </a:lnTo>
                    <a:lnTo>
                      <a:pt x="3527" y="2446"/>
                    </a:lnTo>
                    <a:lnTo>
                      <a:pt x="3488" y="2471"/>
                    </a:lnTo>
                    <a:lnTo>
                      <a:pt x="3445" y="2492"/>
                    </a:lnTo>
                    <a:lnTo>
                      <a:pt x="3400" y="2508"/>
                    </a:lnTo>
                    <a:lnTo>
                      <a:pt x="3352" y="2517"/>
                    </a:lnTo>
                    <a:lnTo>
                      <a:pt x="3302" y="2520"/>
                    </a:lnTo>
                    <a:lnTo>
                      <a:pt x="367" y="2520"/>
                    </a:lnTo>
                    <a:lnTo>
                      <a:pt x="317" y="2517"/>
                    </a:lnTo>
                    <a:lnTo>
                      <a:pt x="269" y="2508"/>
                    </a:lnTo>
                    <a:lnTo>
                      <a:pt x="224" y="2492"/>
                    </a:lnTo>
                    <a:lnTo>
                      <a:pt x="182" y="2471"/>
                    </a:lnTo>
                    <a:lnTo>
                      <a:pt x="143" y="2446"/>
                    </a:lnTo>
                    <a:lnTo>
                      <a:pt x="107" y="2415"/>
                    </a:lnTo>
                    <a:lnTo>
                      <a:pt x="76" y="2381"/>
                    </a:lnTo>
                    <a:lnTo>
                      <a:pt x="50" y="2342"/>
                    </a:lnTo>
                    <a:lnTo>
                      <a:pt x="29" y="2301"/>
                    </a:lnTo>
                    <a:lnTo>
                      <a:pt x="13" y="2256"/>
                    </a:lnTo>
                    <a:lnTo>
                      <a:pt x="3" y="2209"/>
                    </a:lnTo>
                    <a:lnTo>
                      <a:pt x="0" y="2160"/>
                    </a:lnTo>
                    <a:lnTo>
                      <a:pt x="0" y="360"/>
                    </a:lnTo>
                    <a:lnTo>
                      <a:pt x="3" y="311"/>
                    </a:lnTo>
                    <a:lnTo>
                      <a:pt x="13" y="264"/>
                    </a:lnTo>
                    <a:lnTo>
                      <a:pt x="29" y="221"/>
                    </a:lnTo>
                    <a:lnTo>
                      <a:pt x="50" y="178"/>
                    </a:lnTo>
                    <a:lnTo>
                      <a:pt x="76" y="140"/>
                    </a:lnTo>
                    <a:lnTo>
                      <a:pt x="107" y="106"/>
                    </a:lnTo>
                    <a:lnTo>
                      <a:pt x="143" y="76"/>
                    </a:lnTo>
                    <a:lnTo>
                      <a:pt x="182" y="50"/>
                    </a:lnTo>
                    <a:lnTo>
                      <a:pt x="224" y="29"/>
                    </a:lnTo>
                    <a:lnTo>
                      <a:pt x="269" y="13"/>
                    </a:lnTo>
                    <a:lnTo>
                      <a:pt x="317" y="3"/>
                    </a:lnTo>
                    <a:lnTo>
                      <a:pt x="367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</p:grpSp>
      <p:sp>
        <p:nvSpPr>
          <p:cNvPr id="163" name="Rectangle 162"/>
          <p:cNvSpPr/>
          <p:nvPr/>
        </p:nvSpPr>
        <p:spPr>
          <a:xfrm>
            <a:off x="952448" y="4843342"/>
            <a:ext cx="8544168" cy="234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rgbClr val="0166B6">
                  <a:alpha val="15000"/>
                </a:srgbClr>
              </a:gs>
            </a:gsLst>
            <a:lin ang="10800000" scaled="0"/>
          </a:gradFill>
          <a:ln w="19050">
            <a:noFill/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Cyfrowa Tożsamość </a:t>
            </a:r>
            <a:endParaRPr lang="en-US" sz="1083" b="1" i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</p:txBody>
      </p:sp>
      <p:grpSp>
        <p:nvGrpSpPr>
          <p:cNvPr id="155" name="Group 154"/>
          <p:cNvGrpSpPr>
            <a:grpSpLocks noChangeAspect="1"/>
          </p:cNvGrpSpPr>
          <p:nvPr/>
        </p:nvGrpSpPr>
        <p:grpSpPr>
          <a:xfrm>
            <a:off x="531485" y="5161417"/>
            <a:ext cx="433729" cy="242823"/>
            <a:chOff x="523783" y="5994400"/>
            <a:chExt cx="647792" cy="362667"/>
          </a:xfrm>
        </p:grpSpPr>
        <p:sp>
          <p:nvSpPr>
            <p:cNvPr id="156" name="Rectangle 155"/>
            <p:cNvSpPr/>
            <p:nvPr/>
          </p:nvSpPr>
          <p:spPr>
            <a:xfrm>
              <a:off x="523783" y="5994400"/>
              <a:ext cx="647792" cy="36266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/>
              <a:endParaRPr lang="pl-PL" sz="1517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grpSp>
          <p:nvGrpSpPr>
            <p:cNvPr id="157" name="Group 205"/>
            <p:cNvGrpSpPr>
              <a:grpSpLocks/>
            </p:cNvGrpSpPr>
            <p:nvPr/>
          </p:nvGrpSpPr>
          <p:grpSpPr bwMode="auto">
            <a:xfrm>
              <a:off x="701583" y="6032500"/>
              <a:ext cx="281552" cy="281552"/>
              <a:chOff x="3703" y="3242"/>
              <a:chExt cx="215" cy="220"/>
            </a:xfrm>
          </p:grpSpPr>
          <p:sp>
            <p:nvSpPr>
              <p:cNvPr id="158" name="Freeform 207"/>
              <p:cNvSpPr>
                <a:spLocks noEditPoints="1"/>
              </p:cNvSpPr>
              <p:nvPr/>
            </p:nvSpPr>
            <p:spPr bwMode="auto">
              <a:xfrm>
                <a:off x="3749" y="3309"/>
                <a:ext cx="122" cy="34"/>
              </a:xfrm>
              <a:custGeom>
                <a:avLst/>
                <a:gdLst>
                  <a:gd name="T0" fmla="*/ 0 w 1826"/>
                  <a:gd name="T1" fmla="*/ 0 h 511"/>
                  <a:gd name="T2" fmla="*/ 0 w 1826"/>
                  <a:gd name="T3" fmla="*/ 0 h 511"/>
                  <a:gd name="T4" fmla="*/ 0 w 1826"/>
                  <a:gd name="T5" fmla="*/ 0 h 511"/>
                  <a:gd name="T6" fmla="*/ 0 w 1826"/>
                  <a:gd name="T7" fmla="*/ 0 h 511"/>
                  <a:gd name="T8" fmla="*/ 0 w 1826"/>
                  <a:gd name="T9" fmla="*/ 0 h 511"/>
                  <a:gd name="T10" fmla="*/ 0 w 1826"/>
                  <a:gd name="T11" fmla="*/ 0 h 511"/>
                  <a:gd name="T12" fmla="*/ 0 w 1826"/>
                  <a:gd name="T13" fmla="*/ 0 h 511"/>
                  <a:gd name="T14" fmla="*/ 0 w 1826"/>
                  <a:gd name="T15" fmla="*/ 0 h 511"/>
                  <a:gd name="T16" fmla="*/ 0 w 1826"/>
                  <a:gd name="T17" fmla="*/ 0 h 511"/>
                  <a:gd name="T18" fmla="*/ 0 w 1826"/>
                  <a:gd name="T19" fmla="*/ 0 h 511"/>
                  <a:gd name="T20" fmla="*/ 0 w 1826"/>
                  <a:gd name="T21" fmla="*/ 0 h 511"/>
                  <a:gd name="T22" fmla="*/ 0 w 1826"/>
                  <a:gd name="T23" fmla="*/ 0 h 511"/>
                  <a:gd name="T24" fmla="*/ 0 w 1826"/>
                  <a:gd name="T25" fmla="*/ 0 h 511"/>
                  <a:gd name="T26" fmla="*/ 0 w 1826"/>
                  <a:gd name="T27" fmla="*/ 0 h 511"/>
                  <a:gd name="T28" fmla="*/ 0 w 1826"/>
                  <a:gd name="T29" fmla="*/ 0 h 511"/>
                  <a:gd name="T30" fmla="*/ 0 w 1826"/>
                  <a:gd name="T31" fmla="*/ 0 h 511"/>
                  <a:gd name="T32" fmla="*/ 0 w 1826"/>
                  <a:gd name="T33" fmla="*/ 0 h 511"/>
                  <a:gd name="T34" fmla="*/ 0 w 1826"/>
                  <a:gd name="T35" fmla="*/ 0 h 511"/>
                  <a:gd name="T36" fmla="*/ 0 w 1826"/>
                  <a:gd name="T37" fmla="*/ 0 h 511"/>
                  <a:gd name="T38" fmla="*/ 0 w 1826"/>
                  <a:gd name="T39" fmla="*/ 0 h 511"/>
                  <a:gd name="T40" fmla="*/ 0 w 1826"/>
                  <a:gd name="T41" fmla="*/ 0 h 511"/>
                  <a:gd name="T42" fmla="*/ 0 w 1826"/>
                  <a:gd name="T43" fmla="*/ 0 h 511"/>
                  <a:gd name="T44" fmla="*/ 0 w 1826"/>
                  <a:gd name="T45" fmla="*/ 0 h 511"/>
                  <a:gd name="T46" fmla="*/ 0 w 1826"/>
                  <a:gd name="T47" fmla="*/ 0 h 511"/>
                  <a:gd name="T48" fmla="*/ 0 w 1826"/>
                  <a:gd name="T49" fmla="*/ 0 h 511"/>
                  <a:gd name="T50" fmla="*/ 0 w 1826"/>
                  <a:gd name="T51" fmla="*/ 0 h 511"/>
                  <a:gd name="T52" fmla="*/ 0 w 1826"/>
                  <a:gd name="T53" fmla="*/ 0 h 511"/>
                  <a:gd name="T54" fmla="*/ 0 w 1826"/>
                  <a:gd name="T55" fmla="*/ 0 h 511"/>
                  <a:gd name="T56" fmla="*/ 0 w 1826"/>
                  <a:gd name="T57" fmla="*/ 0 h 511"/>
                  <a:gd name="T58" fmla="*/ 0 w 1826"/>
                  <a:gd name="T59" fmla="*/ 0 h 511"/>
                  <a:gd name="T60" fmla="*/ 0 w 1826"/>
                  <a:gd name="T61" fmla="*/ 0 h 511"/>
                  <a:gd name="T62" fmla="*/ 0 w 1826"/>
                  <a:gd name="T63" fmla="*/ 0 h 511"/>
                  <a:gd name="T64" fmla="*/ 0 w 1826"/>
                  <a:gd name="T65" fmla="*/ 0 h 511"/>
                  <a:gd name="T66" fmla="*/ 0 w 1826"/>
                  <a:gd name="T67" fmla="*/ 0 h 511"/>
                  <a:gd name="T68" fmla="*/ 0 w 1826"/>
                  <a:gd name="T69" fmla="*/ 0 h 511"/>
                  <a:gd name="T70" fmla="*/ 0 w 1826"/>
                  <a:gd name="T71" fmla="*/ 0 h 511"/>
                  <a:gd name="T72" fmla="*/ 0 w 1826"/>
                  <a:gd name="T73" fmla="*/ 0 h 511"/>
                  <a:gd name="T74" fmla="*/ 0 w 1826"/>
                  <a:gd name="T75" fmla="*/ 0 h 511"/>
                  <a:gd name="T76" fmla="*/ 0 w 1826"/>
                  <a:gd name="T77" fmla="*/ 0 h 511"/>
                  <a:gd name="T78" fmla="*/ 0 w 1826"/>
                  <a:gd name="T79" fmla="*/ 0 h 511"/>
                  <a:gd name="T80" fmla="*/ 0 w 1826"/>
                  <a:gd name="T81" fmla="*/ 0 h 511"/>
                  <a:gd name="T82" fmla="*/ 0 w 1826"/>
                  <a:gd name="T83" fmla="*/ 0 h 511"/>
                  <a:gd name="T84" fmla="*/ 0 w 1826"/>
                  <a:gd name="T85" fmla="*/ 0 h 511"/>
                  <a:gd name="T86" fmla="*/ 0 w 1826"/>
                  <a:gd name="T87" fmla="*/ 0 h 511"/>
                  <a:gd name="T88" fmla="*/ 0 w 1826"/>
                  <a:gd name="T89" fmla="*/ 0 h 511"/>
                  <a:gd name="T90" fmla="*/ 0 w 1826"/>
                  <a:gd name="T91" fmla="*/ 0 h 511"/>
                  <a:gd name="T92" fmla="*/ 0 w 1826"/>
                  <a:gd name="T93" fmla="*/ 0 h 511"/>
                  <a:gd name="T94" fmla="*/ 0 w 1826"/>
                  <a:gd name="T95" fmla="*/ 0 h 511"/>
                  <a:gd name="T96" fmla="*/ 0 w 1826"/>
                  <a:gd name="T97" fmla="*/ 0 h 511"/>
                  <a:gd name="T98" fmla="*/ 0 w 1826"/>
                  <a:gd name="T99" fmla="*/ 0 h 511"/>
                  <a:gd name="T100" fmla="*/ 0 w 1826"/>
                  <a:gd name="T101" fmla="*/ 0 h 511"/>
                  <a:gd name="T102" fmla="*/ 0 w 1826"/>
                  <a:gd name="T103" fmla="*/ 0 h 511"/>
                  <a:gd name="T104" fmla="*/ 0 w 1826"/>
                  <a:gd name="T105" fmla="*/ 0 h 511"/>
                  <a:gd name="T106" fmla="*/ 0 w 1826"/>
                  <a:gd name="T107" fmla="*/ 0 h 511"/>
                  <a:gd name="T108" fmla="*/ 0 w 1826"/>
                  <a:gd name="T109" fmla="*/ 0 h 511"/>
                  <a:gd name="T110" fmla="*/ 0 w 1826"/>
                  <a:gd name="T111" fmla="*/ 0 h 511"/>
                  <a:gd name="T112" fmla="*/ 0 w 1826"/>
                  <a:gd name="T113" fmla="*/ 0 h 511"/>
                  <a:gd name="T114" fmla="*/ 0 w 1826"/>
                  <a:gd name="T115" fmla="*/ 0 h 511"/>
                  <a:gd name="T116" fmla="*/ 0 w 1826"/>
                  <a:gd name="T117" fmla="*/ 0 h 51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826"/>
                  <a:gd name="T178" fmla="*/ 0 h 511"/>
                  <a:gd name="T179" fmla="*/ 1826 w 1826"/>
                  <a:gd name="T180" fmla="*/ 511 h 51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826" h="511">
                    <a:moveTo>
                      <a:pt x="1163" y="256"/>
                    </a:moveTo>
                    <a:lnTo>
                      <a:pt x="1163" y="392"/>
                    </a:lnTo>
                    <a:lnTo>
                      <a:pt x="1576" y="392"/>
                    </a:lnTo>
                    <a:lnTo>
                      <a:pt x="1576" y="256"/>
                    </a:lnTo>
                    <a:lnTo>
                      <a:pt x="1163" y="256"/>
                    </a:lnTo>
                    <a:close/>
                    <a:moveTo>
                      <a:pt x="171" y="107"/>
                    </a:moveTo>
                    <a:lnTo>
                      <a:pt x="152" y="110"/>
                    </a:lnTo>
                    <a:lnTo>
                      <a:pt x="136" y="118"/>
                    </a:lnTo>
                    <a:lnTo>
                      <a:pt x="123" y="131"/>
                    </a:lnTo>
                    <a:lnTo>
                      <a:pt x="115" y="147"/>
                    </a:lnTo>
                    <a:lnTo>
                      <a:pt x="112" y="165"/>
                    </a:lnTo>
                    <a:lnTo>
                      <a:pt x="115" y="184"/>
                    </a:lnTo>
                    <a:lnTo>
                      <a:pt x="123" y="200"/>
                    </a:lnTo>
                    <a:lnTo>
                      <a:pt x="136" y="213"/>
                    </a:lnTo>
                    <a:lnTo>
                      <a:pt x="152" y="221"/>
                    </a:lnTo>
                    <a:lnTo>
                      <a:pt x="171" y="224"/>
                    </a:lnTo>
                    <a:lnTo>
                      <a:pt x="189" y="221"/>
                    </a:lnTo>
                    <a:lnTo>
                      <a:pt x="206" y="213"/>
                    </a:lnTo>
                    <a:lnTo>
                      <a:pt x="218" y="200"/>
                    </a:lnTo>
                    <a:lnTo>
                      <a:pt x="226" y="184"/>
                    </a:lnTo>
                    <a:lnTo>
                      <a:pt x="229" y="165"/>
                    </a:lnTo>
                    <a:lnTo>
                      <a:pt x="226" y="147"/>
                    </a:lnTo>
                    <a:lnTo>
                      <a:pt x="218" y="131"/>
                    </a:lnTo>
                    <a:lnTo>
                      <a:pt x="206" y="118"/>
                    </a:lnTo>
                    <a:lnTo>
                      <a:pt x="189" y="110"/>
                    </a:lnTo>
                    <a:lnTo>
                      <a:pt x="171" y="107"/>
                    </a:lnTo>
                    <a:close/>
                    <a:moveTo>
                      <a:pt x="95" y="0"/>
                    </a:moveTo>
                    <a:lnTo>
                      <a:pt x="1731" y="0"/>
                    </a:lnTo>
                    <a:lnTo>
                      <a:pt x="1753" y="2"/>
                    </a:lnTo>
                    <a:lnTo>
                      <a:pt x="1772" y="9"/>
                    </a:lnTo>
                    <a:lnTo>
                      <a:pt x="1790" y="20"/>
                    </a:lnTo>
                    <a:lnTo>
                      <a:pt x="1804" y="35"/>
                    </a:lnTo>
                    <a:lnTo>
                      <a:pt x="1816" y="52"/>
                    </a:lnTo>
                    <a:lnTo>
                      <a:pt x="1823" y="73"/>
                    </a:lnTo>
                    <a:lnTo>
                      <a:pt x="1826" y="94"/>
                    </a:lnTo>
                    <a:lnTo>
                      <a:pt x="1826" y="417"/>
                    </a:lnTo>
                    <a:lnTo>
                      <a:pt x="1823" y="439"/>
                    </a:lnTo>
                    <a:lnTo>
                      <a:pt x="1816" y="458"/>
                    </a:lnTo>
                    <a:lnTo>
                      <a:pt x="1804" y="476"/>
                    </a:lnTo>
                    <a:lnTo>
                      <a:pt x="1790" y="490"/>
                    </a:lnTo>
                    <a:lnTo>
                      <a:pt x="1772" y="501"/>
                    </a:lnTo>
                    <a:lnTo>
                      <a:pt x="1753" y="508"/>
                    </a:lnTo>
                    <a:lnTo>
                      <a:pt x="1731" y="511"/>
                    </a:lnTo>
                    <a:lnTo>
                      <a:pt x="95" y="511"/>
                    </a:lnTo>
                    <a:lnTo>
                      <a:pt x="73" y="508"/>
                    </a:lnTo>
                    <a:lnTo>
                      <a:pt x="53" y="501"/>
                    </a:lnTo>
                    <a:lnTo>
                      <a:pt x="35" y="490"/>
                    </a:lnTo>
                    <a:lnTo>
                      <a:pt x="21" y="476"/>
                    </a:lnTo>
                    <a:lnTo>
                      <a:pt x="9" y="458"/>
                    </a:lnTo>
                    <a:lnTo>
                      <a:pt x="2" y="439"/>
                    </a:lnTo>
                    <a:lnTo>
                      <a:pt x="0" y="417"/>
                    </a:lnTo>
                    <a:lnTo>
                      <a:pt x="0" y="94"/>
                    </a:lnTo>
                    <a:lnTo>
                      <a:pt x="2" y="73"/>
                    </a:lnTo>
                    <a:lnTo>
                      <a:pt x="9" y="52"/>
                    </a:lnTo>
                    <a:lnTo>
                      <a:pt x="21" y="35"/>
                    </a:lnTo>
                    <a:lnTo>
                      <a:pt x="35" y="20"/>
                    </a:lnTo>
                    <a:lnTo>
                      <a:pt x="53" y="9"/>
                    </a:lnTo>
                    <a:lnTo>
                      <a:pt x="73" y="2"/>
                    </a:lnTo>
                    <a:lnTo>
                      <a:pt x="9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59" name="Freeform 208"/>
              <p:cNvSpPr>
                <a:spLocks noEditPoints="1"/>
              </p:cNvSpPr>
              <p:nvPr/>
            </p:nvSpPr>
            <p:spPr bwMode="auto">
              <a:xfrm>
                <a:off x="3749" y="3347"/>
                <a:ext cx="122" cy="34"/>
              </a:xfrm>
              <a:custGeom>
                <a:avLst/>
                <a:gdLst>
                  <a:gd name="T0" fmla="*/ 0 w 1826"/>
                  <a:gd name="T1" fmla="*/ 0 h 512"/>
                  <a:gd name="T2" fmla="*/ 0 w 1826"/>
                  <a:gd name="T3" fmla="*/ 0 h 512"/>
                  <a:gd name="T4" fmla="*/ 0 w 1826"/>
                  <a:gd name="T5" fmla="*/ 0 h 512"/>
                  <a:gd name="T6" fmla="*/ 0 w 1826"/>
                  <a:gd name="T7" fmla="*/ 0 h 512"/>
                  <a:gd name="T8" fmla="*/ 0 w 1826"/>
                  <a:gd name="T9" fmla="*/ 0 h 512"/>
                  <a:gd name="T10" fmla="*/ 0 w 1826"/>
                  <a:gd name="T11" fmla="*/ 0 h 512"/>
                  <a:gd name="T12" fmla="*/ 0 w 1826"/>
                  <a:gd name="T13" fmla="*/ 0 h 512"/>
                  <a:gd name="T14" fmla="*/ 0 w 1826"/>
                  <a:gd name="T15" fmla="*/ 0 h 512"/>
                  <a:gd name="T16" fmla="*/ 0 w 1826"/>
                  <a:gd name="T17" fmla="*/ 0 h 512"/>
                  <a:gd name="T18" fmla="*/ 0 w 1826"/>
                  <a:gd name="T19" fmla="*/ 0 h 512"/>
                  <a:gd name="T20" fmla="*/ 0 w 1826"/>
                  <a:gd name="T21" fmla="*/ 0 h 512"/>
                  <a:gd name="T22" fmla="*/ 0 w 1826"/>
                  <a:gd name="T23" fmla="*/ 0 h 512"/>
                  <a:gd name="T24" fmla="*/ 0 w 1826"/>
                  <a:gd name="T25" fmla="*/ 0 h 512"/>
                  <a:gd name="T26" fmla="*/ 0 w 1826"/>
                  <a:gd name="T27" fmla="*/ 0 h 512"/>
                  <a:gd name="T28" fmla="*/ 0 w 1826"/>
                  <a:gd name="T29" fmla="*/ 0 h 512"/>
                  <a:gd name="T30" fmla="*/ 0 w 1826"/>
                  <a:gd name="T31" fmla="*/ 0 h 512"/>
                  <a:gd name="T32" fmla="*/ 0 w 1826"/>
                  <a:gd name="T33" fmla="*/ 0 h 512"/>
                  <a:gd name="T34" fmla="*/ 0 w 1826"/>
                  <a:gd name="T35" fmla="*/ 0 h 512"/>
                  <a:gd name="T36" fmla="*/ 0 w 1826"/>
                  <a:gd name="T37" fmla="*/ 0 h 512"/>
                  <a:gd name="T38" fmla="*/ 0 w 1826"/>
                  <a:gd name="T39" fmla="*/ 0 h 512"/>
                  <a:gd name="T40" fmla="*/ 0 w 1826"/>
                  <a:gd name="T41" fmla="*/ 0 h 512"/>
                  <a:gd name="T42" fmla="*/ 0 w 1826"/>
                  <a:gd name="T43" fmla="*/ 0 h 512"/>
                  <a:gd name="T44" fmla="*/ 0 w 1826"/>
                  <a:gd name="T45" fmla="*/ 0 h 512"/>
                  <a:gd name="T46" fmla="*/ 0 w 1826"/>
                  <a:gd name="T47" fmla="*/ 0 h 512"/>
                  <a:gd name="T48" fmla="*/ 0 w 1826"/>
                  <a:gd name="T49" fmla="*/ 0 h 512"/>
                  <a:gd name="T50" fmla="*/ 0 w 1826"/>
                  <a:gd name="T51" fmla="*/ 0 h 512"/>
                  <a:gd name="T52" fmla="*/ 0 w 1826"/>
                  <a:gd name="T53" fmla="*/ 0 h 512"/>
                  <a:gd name="T54" fmla="*/ 0 w 1826"/>
                  <a:gd name="T55" fmla="*/ 0 h 512"/>
                  <a:gd name="T56" fmla="*/ 0 w 1826"/>
                  <a:gd name="T57" fmla="*/ 0 h 512"/>
                  <a:gd name="T58" fmla="*/ 0 w 1826"/>
                  <a:gd name="T59" fmla="*/ 0 h 512"/>
                  <a:gd name="T60" fmla="*/ 0 w 1826"/>
                  <a:gd name="T61" fmla="*/ 0 h 512"/>
                  <a:gd name="T62" fmla="*/ 0 w 1826"/>
                  <a:gd name="T63" fmla="*/ 0 h 512"/>
                  <a:gd name="T64" fmla="*/ 0 w 1826"/>
                  <a:gd name="T65" fmla="*/ 0 h 512"/>
                  <a:gd name="T66" fmla="*/ 0 w 1826"/>
                  <a:gd name="T67" fmla="*/ 0 h 512"/>
                  <a:gd name="T68" fmla="*/ 0 w 1826"/>
                  <a:gd name="T69" fmla="*/ 0 h 512"/>
                  <a:gd name="T70" fmla="*/ 0 w 1826"/>
                  <a:gd name="T71" fmla="*/ 0 h 512"/>
                  <a:gd name="T72" fmla="*/ 0 w 1826"/>
                  <a:gd name="T73" fmla="*/ 0 h 512"/>
                  <a:gd name="T74" fmla="*/ 0 w 1826"/>
                  <a:gd name="T75" fmla="*/ 0 h 512"/>
                  <a:gd name="T76" fmla="*/ 0 w 1826"/>
                  <a:gd name="T77" fmla="*/ 0 h 512"/>
                  <a:gd name="T78" fmla="*/ 0 w 1826"/>
                  <a:gd name="T79" fmla="*/ 0 h 512"/>
                  <a:gd name="T80" fmla="*/ 0 w 1826"/>
                  <a:gd name="T81" fmla="*/ 0 h 512"/>
                  <a:gd name="T82" fmla="*/ 0 w 1826"/>
                  <a:gd name="T83" fmla="*/ 0 h 512"/>
                  <a:gd name="T84" fmla="*/ 0 w 1826"/>
                  <a:gd name="T85" fmla="*/ 0 h 512"/>
                  <a:gd name="T86" fmla="*/ 0 w 1826"/>
                  <a:gd name="T87" fmla="*/ 0 h 512"/>
                  <a:gd name="T88" fmla="*/ 0 w 1826"/>
                  <a:gd name="T89" fmla="*/ 0 h 512"/>
                  <a:gd name="T90" fmla="*/ 0 w 1826"/>
                  <a:gd name="T91" fmla="*/ 0 h 512"/>
                  <a:gd name="T92" fmla="*/ 0 w 1826"/>
                  <a:gd name="T93" fmla="*/ 0 h 512"/>
                  <a:gd name="T94" fmla="*/ 0 w 1826"/>
                  <a:gd name="T95" fmla="*/ 0 h 512"/>
                  <a:gd name="T96" fmla="*/ 0 w 1826"/>
                  <a:gd name="T97" fmla="*/ 0 h 512"/>
                  <a:gd name="T98" fmla="*/ 0 w 1826"/>
                  <a:gd name="T99" fmla="*/ 0 h 512"/>
                  <a:gd name="T100" fmla="*/ 0 w 1826"/>
                  <a:gd name="T101" fmla="*/ 0 h 512"/>
                  <a:gd name="T102" fmla="*/ 0 w 1826"/>
                  <a:gd name="T103" fmla="*/ 0 h 512"/>
                  <a:gd name="T104" fmla="*/ 0 w 1826"/>
                  <a:gd name="T105" fmla="*/ 0 h 512"/>
                  <a:gd name="T106" fmla="*/ 0 w 1826"/>
                  <a:gd name="T107" fmla="*/ 0 h 512"/>
                  <a:gd name="T108" fmla="*/ 0 w 1826"/>
                  <a:gd name="T109" fmla="*/ 0 h 512"/>
                  <a:gd name="T110" fmla="*/ 0 w 1826"/>
                  <a:gd name="T111" fmla="*/ 0 h 512"/>
                  <a:gd name="T112" fmla="*/ 0 w 1826"/>
                  <a:gd name="T113" fmla="*/ 0 h 512"/>
                  <a:gd name="T114" fmla="*/ 0 w 1826"/>
                  <a:gd name="T115" fmla="*/ 0 h 512"/>
                  <a:gd name="T116" fmla="*/ 0 w 1826"/>
                  <a:gd name="T117" fmla="*/ 0 h 51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826"/>
                  <a:gd name="T178" fmla="*/ 0 h 512"/>
                  <a:gd name="T179" fmla="*/ 1826 w 1826"/>
                  <a:gd name="T180" fmla="*/ 512 h 512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826" h="512">
                    <a:moveTo>
                      <a:pt x="1163" y="257"/>
                    </a:moveTo>
                    <a:lnTo>
                      <a:pt x="1163" y="393"/>
                    </a:lnTo>
                    <a:lnTo>
                      <a:pt x="1576" y="393"/>
                    </a:lnTo>
                    <a:lnTo>
                      <a:pt x="1576" y="257"/>
                    </a:lnTo>
                    <a:lnTo>
                      <a:pt x="1163" y="257"/>
                    </a:lnTo>
                    <a:close/>
                    <a:moveTo>
                      <a:pt x="171" y="108"/>
                    </a:moveTo>
                    <a:lnTo>
                      <a:pt x="152" y="111"/>
                    </a:lnTo>
                    <a:lnTo>
                      <a:pt x="136" y="119"/>
                    </a:lnTo>
                    <a:lnTo>
                      <a:pt x="123" y="132"/>
                    </a:lnTo>
                    <a:lnTo>
                      <a:pt x="115" y="148"/>
                    </a:lnTo>
                    <a:lnTo>
                      <a:pt x="112" y="166"/>
                    </a:lnTo>
                    <a:lnTo>
                      <a:pt x="115" y="185"/>
                    </a:lnTo>
                    <a:lnTo>
                      <a:pt x="123" y="201"/>
                    </a:lnTo>
                    <a:lnTo>
                      <a:pt x="136" y="214"/>
                    </a:lnTo>
                    <a:lnTo>
                      <a:pt x="152" y="222"/>
                    </a:lnTo>
                    <a:lnTo>
                      <a:pt x="171" y="225"/>
                    </a:lnTo>
                    <a:lnTo>
                      <a:pt x="189" y="222"/>
                    </a:lnTo>
                    <a:lnTo>
                      <a:pt x="206" y="214"/>
                    </a:lnTo>
                    <a:lnTo>
                      <a:pt x="218" y="201"/>
                    </a:lnTo>
                    <a:lnTo>
                      <a:pt x="226" y="185"/>
                    </a:lnTo>
                    <a:lnTo>
                      <a:pt x="229" y="166"/>
                    </a:lnTo>
                    <a:lnTo>
                      <a:pt x="226" y="148"/>
                    </a:lnTo>
                    <a:lnTo>
                      <a:pt x="218" y="132"/>
                    </a:lnTo>
                    <a:lnTo>
                      <a:pt x="206" y="119"/>
                    </a:lnTo>
                    <a:lnTo>
                      <a:pt x="189" y="111"/>
                    </a:lnTo>
                    <a:lnTo>
                      <a:pt x="171" y="108"/>
                    </a:lnTo>
                    <a:close/>
                    <a:moveTo>
                      <a:pt x="95" y="0"/>
                    </a:moveTo>
                    <a:lnTo>
                      <a:pt x="1731" y="0"/>
                    </a:lnTo>
                    <a:lnTo>
                      <a:pt x="1753" y="3"/>
                    </a:lnTo>
                    <a:lnTo>
                      <a:pt x="1772" y="10"/>
                    </a:lnTo>
                    <a:lnTo>
                      <a:pt x="1790" y="21"/>
                    </a:lnTo>
                    <a:lnTo>
                      <a:pt x="1804" y="36"/>
                    </a:lnTo>
                    <a:lnTo>
                      <a:pt x="1816" y="53"/>
                    </a:lnTo>
                    <a:lnTo>
                      <a:pt x="1823" y="74"/>
                    </a:lnTo>
                    <a:lnTo>
                      <a:pt x="1826" y="95"/>
                    </a:lnTo>
                    <a:lnTo>
                      <a:pt x="1826" y="417"/>
                    </a:lnTo>
                    <a:lnTo>
                      <a:pt x="1823" y="440"/>
                    </a:lnTo>
                    <a:lnTo>
                      <a:pt x="1816" y="459"/>
                    </a:lnTo>
                    <a:lnTo>
                      <a:pt x="1804" y="477"/>
                    </a:lnTo>
                    <a:lnTo>
                      <a:pt x="1790" y="491"/>
                    </a:lnTo>
                    <a:lnTo>
                      <a:pt x="1772" y="502"/>
                    </a:lnTo>
                    <a:lnTo>
                      <a:pt x="1753" y="509"/>
                    </a:lnTo>
                    <a:lnTo>
                      <a:pt x="1731" y="512"/>
                    </a:lnTo>
                    <a:lnTo>
                      <a:pt x="95" y="512"/>
                    </a:lnTo>
                    <a:lnTo>
                      <a:pt x="73" y="509"/>
                    </a:lnTo>
                    <a:lnTo>
                      <a:pt x="53" y="502"/>
                    </a:lnTo>
                    <a:lnTo>
                      <a:pt x="35" y="491"/>
                    </a:lnTo>
                    <a:lnTo>
                      <a:pt x="21" y="477"/>
                    </a:lnTo>
                    <a:lnTo>
                      <a:pt x="9" y="459"/>
                    </a:lnTo>
                    <a:lnTo>
                      <a:pt x="2" y="440"/>
                    </a:lnTo>
                    <a:lnTo>
                      <a:pt x="0" y="417"/>
                    </a:lnTo>
                    <a:lnTo>
                      <a:pt x="0" y="95"/>
                    </a:lnTo>
                    <a:lnTo>
                      <a:pt x="2" y="74"/>
                    </a:lnTo>
                    <a:lnTo>
                      <a:pt x="9" y="53"/>
                    </a:lnTo>
                    <a:lnTo>
                      <a:pt x="21" y="36"/>
                    </a:lnTo>
                    <a:lnTo>
                      <a:pt x="35" y="21"/>
                    </a:lnTo>
                    <a:lnTo>
                      <a:pt x="53" y="10"/>
                    </a:lnTo>
                    <a:lnTo>
                      <a:pt x="73" y="3"/>
                    </a:lnTo>
                    <a:lnTo>
                      <a:pt x="9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60" name="Freeform 209"/>
              <p:cNvSpPr>
                <a:spLocks noEditPoints="1"/>
              </p:cNvSpPr>
              <p:nvPr/>
            </p:nvSpPr>
            <p:spPr bwMode="auto">
              <a:xfrm>
                <a:off x="3749" y="3384"/>
                <a:ext cx="122" cy="34"/>
              </a:xfrm>
              <a:custGeom>
                <a:avLst/>
                <a:gdLst>
                  <a:gd name="T0" fmla="*/ 0 w 1826"/>
                  <a:gd name="T1" fmla="*/ 0 h 511"/>
                  <a:gd name="T2" fmla="*/ 0 w 1826"/>
                  <a:gd name="T3" fmla="*/ 0 h 511"/>
                  <a:gd name="T4" fmla="*/ 0 w 1826"/>
                  <a:gd name="T5" fmla="*/ 0 h 511"/>
                  <a:gd name="T6" fmla="*/ 0 w 1826"/>
                  <a:gd name="T7" fmla="*/ 0 h 511"/>
                  <a:gd name="T8" fmla="*/ 0 w 1826"/>
                  <a:gd name="T9" fmla="*/ 0 h 511"/>
                  <a:gd name="T10" fmla="*/ 0 w 1826"/>
                  <a:gd name="T11" fmla="*/ 0 h 511"/>
                  <a:gd name="T12" fmla="*/ 0 w 1826"/>
                  <a:gd name="T13" fmla="*/ 0 h 511"/>
                  <a:gd name="T14" fmla="*/ 0 w 1826"/>
                  <a:gd name="T15" fmla="*/ 0 h 511"/>
                  <a:gd name="T16" fmla="*/ 0 w 1826"/>
                  <a:gd name="T17" fmla="*/ 0 h 511"/>
                  <a:gd name="T18" fmla="*/ 0 w 1826"/>
                  <a:gd name="T19" fmla="*/ 0 h 511"/>
                  <a:gd name="T20" fmla="*/ 0 w 1826"/>
                  <a:gd name="T21" fmla="*/ 0 h 511"/>
                  <a:gd name="T22" fmla="*/ 0 w 1826"/>
                  <a:gd name="T23" fmla="*/ 0 h 511"/>
                  <a:gd name="T24" fmla="*/ 0 w 1826"/>
                  <a:gd name="T25" fmla="*/ 0 h 511"/>
                  <a:gd name="T26" fmla="*/ 0 w 1826"/>
                  <a:gd name="T27" fmla="*/ 0 h 511"/>
                  <a:gd name="T28" fmla="*/ 0 w 1826"/>
                  <a:gd name="T29" fmla="*/ 0 h 511"/>
                  <a:gd name="T30" fmla="*/ 0 w 1826"/>
                  <a:gd name="T31" fmla="*/ 0 h 511"/>
                  <a:gd name="T32" fmla="*/ 0 w 1826"/>
                  <a:gd name="T33" fmla="*/ 0 h 511"/>
                  <a:gd name="T34" fmla="*/ 0 w 1826"/>
                  <a:gd name="T35" fmla="*/ 0 h 511"/>
                  <a:gd name="T36" fmla="*/ 0 w 1826"/>
                  <a:gd name="T37" fmla="*/ 0 h 511"/>
                  <a:gd name="T38" fmla="*/ 0 w 1826"/>
                  <a:gd name="T39" fmla="*/ 0 h 511"/>
                  <a:gd name="T40" fmla="*/ 0 w 1826"/>
                  <a:gd name="T41" fmla="*/ 0 h 511"/>
                  <a:gd name="T42" fmla="*/ 0 w 1826"/>
                  <a:gd name="T43" fmla="*/ 0 h 511"/>
                  <a:gd name="T44" fmla="*/ 0 w 1826"/>
                  <a:gd name="T45" fmla="*/ 0 h 511"/>
                  <a:gd name="T46" fmla="*/ 0 w 1826"/>
                  <a:gd name="T47" fmla="*/ 0 h 511"/>
                  <a:gd name="T48" fmla="*/ 0 w 1826"/>
                  <a:gd name="T49" fmla="*/ 0 h 511"/>
                  <a:gd name="T50" fmla="*/ 0 w 1826"/>
                  <a:gd name="T51" fmla="*/ 0 h 511"/>
                  <a:gd name="T52" fmla="*/ 0 w 1826"/>
                  <a:gd name="T53" fmla="*/ 0 h 511"/>
                  <a:gd name="T54" fmla="*/ 0 w 1826"/>
                  <a:gd name="T55" fmla="*/ 0 h 511"/>
                  <a:gd name="T56" fmla="*/ 0 w 1826"/>
                  <a:gd name="T57" fmla="*/ 0 h 511"/>
                  <a:gd name="T58" fmla="*/ 0 w 1826"/>
                  <a:gd name="T59" fmla="*/ 0 h 511"/>
                  <a:gd name="T60" fmla="*/ 0 w 1826"/>
                  <a:gd name="T61" fmla="*/ 0 h 511"/>
                  <a:gd name="T62" fmla="*/ 0 w 1826"/>
                  <a:gd name="T63" fmla="*/ 0 h 511"/>
                  <a:gd name="T64" fmla="*/ 0 w 1826"/>
                  <a:gd name="T65" fmla="*/ 0 h 511"/>
                  <a:gd name="T66" fmla="*/ 0 w 1826"/>
                  <a:gd name="T67" fmla="*/ 0 h 511"/>
                  <a:gd name="T68" fmla="*/ 0 w 1826"/>
                  <a:gd name="T69" fmla="*/ 0 h 511"/>
                  <a:gd name="T70" fmla="*/ 0 w 1826"/>
                  <a:gd name="T71" fmla="*/ 0 h 511"/>
                  <a:gd name="T72" fmla="*/ 0 w 1826"/>
                  <a:gd name="T73" fmla="*/ 0 h 511"/>
                  <a:gd name="T74" fmla="*/ 0 w 1826"/>
                  <a:gd name="T75" fmla="*/ 0 h 511"/>
                  <a:gd name="T76" fmla="*/ 0 w 1826"/>
                  <a:gd name="T77" fmla="*/ 0 h 511"/>
                  <a:gd name="T78" fmla="*/ 0 w 1826"/>
                  <a:gd name="T79" fmla="*/ 0 h 511"/>
                  <a:gd name="T80" fmla="*/ 0 w 1826"/>
                  <a:gd name="T81" fmla="*/ 0 h 511"/>
                  <a:gd name="T82" fmla="*/ 0 w 1826"/>
                  <a:gd name="T83" fmla="*/ 0 h 511"/>
                  <a:gd name="T84" fmla="*/ 0 w 1826"/>
                  <a:gd name="T85" fmla="*/ 0 h 511"/>
                  <a:gd name="T86" fmla="*/ 0 w 1826"/>
                  <a:gd name="T87" fmla="*/ 0 h 511"/>
                  <a:gd name="T88" fmla="*/ 0 w 1826"/>
                  <a:gd name="T89" fmla="*/ 0 h 511"/>
                  <a:gd name="T90" fmla="*/ 0 w 1826"/>
                  <a:gd name="T91" fmla="*/ 0 h 511"/>
                  <a:gd name="T92" fmla="*/ 0 w 1826"/>
                  <a:gd name="T93" fmla="*/ 0 h 511"/>
                  <a:gd name="T94" fmla="*/ 0 w 1826"/>
                  <a:gd name="T95" fmla="*/ 0 h 511"/>
                  <a:gd name="T96" fmla="*/ 0 w 1826"/>
                  <a:gd name="T97" fmla="*/ 0 h 511"/>
                  <a:gd name="T98" fmla="*/ 0 w 1826"/>
                  <a:gd name="T99" fmla="*/ 0 h 511"/>
                  <a:gd name="T100" fmla="*/ 0 w 1826"/>
                  <a:gd name="T101" fmla="*/ 0 h 511"/>
                  <a:gd name="T102" fmla="*/ 0 w 1826"/>
                  <a:gd name="T103" fmla="*/ 0 h 511"/>
                  <a:gd name="T104" fmla="*/ 0 w 1826"/>
                  <a:gd name="T105" fmla="*/ 0 h 511"/>
                  <a:gd name="T106" fmla="*/ 0 w 1826"/>
                  <a:gd name="T107" fmla="*/ 0 h 511"/>
                  <a:gd name="T108" fmla="*/ 0 w 1826"/>
                  <a:gd name="T109" fmla="*/ 0 h 511"/>
                  <a:gd name="T110" fmla="*/ 0 w 1826"/>
                  <a:gd name="T111" fmla="*/ 0 h 511"/>
                  <a:gd name="T112" fmla="*/ 0 w 1826"/>
                  <a:gd name="T113" fmla="*/ 0 h 511"/>
                  <a:gd name="T114" fmla="*/ 0 w 1826"/>
                  <a:gd name="T115" fmla="*/ 0 h 511"/>
                  <a:gd name="T116" fmla="*/ 0 w 1826"/>
                  <a:gd name="T117" fmla="*/ 0 h 51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826"/>
                  <a:gd name="T178" fmla="*/ 0 h 511"/>
                  <a:gd name="T179" fmla="*/ 1826 w 1826"/>
                  <a:gd name="T180" fmla="*/ 511 h 51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826" h="511">
                    <a:moveTo>
                      <a:pt x="1163" y="256"/>
                    </a:moveTo>
                    <a:lnTo>
                      <a:pt x="1163" y="393"/>
                    </a:lnTo>
                    <a:lnTo>
                      <a:pt x="1576" y="393"/>
                    </a:lnTo>
                    <a:lnTo>
                      <a:pt x="1576" y="256"/>
                    </a:lnTo>
                    <a:lnTo>
                      <a:pt x="1163" y="256"/>
                    </a:lnTo>
                    <a:close/>
                    <a:moveTo>
                      <a:pt x="171" y="108"/>
                    </a:moveTo>
                    <a:lnTo>
                      <a:pt x="152" y="111"/>
                    </a:lnTo>
                    <a:lnTo>
                      <a:pt x="136" y="119"/>
                    </a:lnTo>
                    <a:lnTo>
                      <a:pt x="123" y="131"/>
                    </a:lnTo>
                    <a:lnTo>
                      <a:pt x="115" y="148"/>
                    </a:lnTo>
                    <a:lnTo>
                      <a:pt x="112" y="166"/>
                    </a:lnTo>
                    <a:lnTo>
                      <a:pt x="115" y="185"/>
                    </a:lnTo>
                    <a:lnTo>
                      <a:pt x="123" y="201"/>
                    </a:lnTo>
                    <a:lnTo>
                      <a:pt x="136" y="213"/>
                    </a:lnTo>
                    <a:lnTo>
                      <a:pt x="152" y="222"/>
                    </a:lnTo>
                    <a:lnTo>
                      <a:pt x="171" y="225"/>
                    </a:lnTo>
                    <a:lnTo>
                      <a:pt x="189" y="222"/>
                    </a:lnTo>
                    <a:lnTo>
                      <a:pt x="206" y="213"/>
                    </a:lnTo>
                    <a:lnTo>
                      <a:pt x="218" y="201"/>
                    </a:lnTo>
                    <a:lnTo>
                      <a:pt x="226" y="185"/>
                    </a:lnTo>
                    <a:lnTo>
                      <a:pt x="229" y="166"/>
                    </a:lnTo>
                    <a:lnTo>
                      <a:pt x="226" y="148"/>
                    </a:lnTo>
                    <a:lnTo>
                      <a:pt x="218" y="131"/>
                    </a:lnTo>
                    <a:lnTo>
                      <a:pt x="206" y="119"/>
                    </a:lnTo>
                    <a:lnTo>
                      <a:pt x="189" y="111"/>
                    </a:lnTo>
                    <a:lnTo>
                      <a:pt x="171" y="108"/>
                    </a:lnTo>
                    <a:close/>
                    <a:moveTo>
                      <a:pt x="95" y="0"/>
                    </a:moveTo>
                    <a:lnTo>
                      <a:pt x="1731" y="0"/>
                    </a:lnTo>
                    <a:lnTo>
                      <a:pt x="1753" y="3"/>
                    </a:lnTo>
                    <a:lnTo>
                      <a:pt x="1772" y="10"/>
                    </a:lnTo>
                    <a:lnTo>
                      <a:pt x="1790" y="21"/>
                    </a:lnTo>
                    <a:lnTo>
                      <a:pt x="1804" y="36"/>
                    </a:lnTo>
                    <a:lnTo>
                      <a:pt x="1816" y="53"/>
                    </a:lnTo>
                    <a:lnTo>
                      <a:pt x="1823" y="73"/>
                    </a:lnTo>
                    <a:lnTo>
                      <a:pt x="1826" y="94"/>
                    </a:lnTo>
                    <a:lnTo>
                      <a:pt x="1826" y="417"/>
                    </a:lnTo>
                    <a:lnTo>
                      <a:pt x="1823" y="438"/>
                    </a:lnTo>
                    <a:lnTo>
                      <a:pt x="1816" y="459"/>
                    </a:lnTo>
                    <a:lnTo>
                      <a:pt x="1804" y="476"/>
                    </a:lnTo>
                    <a:lnTo>
                      <a:pt x="1790" y="491"/>
                    </a:lnTo>
                    <a:lnTo>
                      <a:pt x="1772" y="502"/>
                    </a:lnTo>
                    <a:lnTo>
                      <a:pt x="1753" y="509"/>
                    </a:lnTo>
                    <a:lnTo>
                      <a:pt x="1731" y="511"/>
                    </a:lnTo>
                    <a:lnTo>
                      <a:pt x="95" y="511"/>
                    </a:lnTo>
                    <a:lnTo>
                      <a:pt x="73" y="509"/>
                    </a:lnTo>
                    <a:lnTo>
                      <a:pt x="53" y="502"/>
                    </a:lnTo>
                    <a:lnTo>
                      <a:pt x="35" y="491"/>
                    </a:lnTo>
                    <a:lnTo>
                      <a:pt x="21" y="476"/>
                    </a:lnTo>
                    <a:lnTo>
                      <a:pt x="9" y="459"/>
                    </a:lnTo>
                    <a:lnTo>
                      <a:pt x="2" y="438"/>
                    </a:lnTo>
                    <a:lnTo>
                      <a:pt x="0" y="417"/>
                    </a:lnTo>
                    <a:lnTo>
                      <a:pt x="0" y="94"/>
                    </a:lnTo>
                    <a:lnTo>
                      <a:pt x="2" y="73"/>
                    </a:lnTo>
                    <a:lnTo>
                      <a:pt x="9" y="53"/>
                    </a:lnTo>
                    <a:lnTo>
                      <a:pt x="21" y="36"/>
                    </a:lnTo>
                    <a:lnTo>
                      <a:pt x="35" y="21"/>
                    </a:lnTo>
                    <a:lnTo>
                      <a:pt x="53" y="10"/>
                    </a:lnTo>
                    <a:lnTo>
                      <a:pt x="73" y="3"/>
                    </a:lnTo>
                    <a:lnTo>
                      <a:pt x="9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61" name="Freeform 210"/>
              <p:cNvSpPr>
                <a:spLocks/>
              </p:cNvSpPr>
              <p:nvPr/>
            </p:nvSpPr>
            <p:spPr bwMode="auto">
              <a:xfrm>
                <a:off x="3751" y="3422"/>
                <a:ext cx="119" cy="40"/>
              </a:xfrm>
              <a:custGeom>
                <a:avLst/>
                <a:gdLst>
                  <a:gd name="T0" fmla="*/ 0 w 1785"/>
                  <a:gd name="T1" fmla="*/ 0 h 603"/>
                  <a:gd name="T2" fmla="*/ 0 w 1785"/>
                  <a:gd name="T3" fmla="*/ 0 h 603"/>
                  <a:gd name="T4" fmla="*/ 0 w 1785"/>
                  <a:gd name="T5" fmla="*/ 0 h 603"/>
                  <a:gd name="T6" fmla="*/ 0 w 1785"/>
                  <a:gd name="T7" fmla="*/ 0 h 603"/>
                  <a:gd name="T8" fmla="*/ 0 w 1785"/>
                  <a:gd name="T9" fmla="*/ 0 h 603"/>
                  <a:gd name="T10" fmla="*/ 0 w 1785"/>
                  <a:gd name="T11" fmla="*/ 0 h 603"/>
                  <a:gd name="T12" fmla="*/ 0 w 1785"/>
                  <a:gd name="T13" fmla="*/ 0 h 603"/>
                  <a:gd name="T14" fmla="*/ 0 w 1785"/>
                  <a:gd name="T15" fmla="*/ 0 h 603"/>
                  <a:gd name="T16" fmla="*/ 0 w 1785"/>
                  <a:gd name="T17" fmla="*/ 0 h 603"/>
                  <a:gd name="T18" fmla="*/ 0 w 1785"/>
                  <a:gd name="T19" fmla="*/ 0 h 603"/>
                  <a:gd name="T20" fmla="*/ 0 w 1785"/>
                  <a:gd name="T21" fmla="*/ 0 h 603"/>
                  <a:gd name="T22" fmla="*/ 0 w 1785"/>
                  <a:gd name="T23" fmla="*/ 0 h 603"/>
                  <a:gd name="T24" fmla="*/ 0 w 1785"/>
                  <a:gd name="T25" fmla="*/ 0 h 603"/>
                  <a:gd name="T26" fmla="*/ 0 w 1785"/>
                  <a:gd name="T27" fmla="*/ 0 h 603"/>
                  <a:gd name="T28" fmla="*/ 0 w 1785"/>
                  <a:gd name="T29" fmla="*/ 0 h 603"/>
                  <a:gd name="T30" fmla="*/ 0 w 1785"/>
                  <a:gd name="T31" fmla="*/ 0 h 603"/>
                  <a:gd name="T32" fmla="*/ 0 w 1785"/>
                  <a:gd name="T33" fmla="*/ 0 h 60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785"/>
                  <a:gd name="T52" fmla="*/ 0 h 603"/>
                  <a:gd name="T53" fmla="*/ 1785 w 1785"/>
                  <a:gd name="T54" fmla="*/ 603 h 60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785" h="603">
                    <a:moveTo>
                      <a:pt x="785" y="0"/>
                    </a:moveTo>
                    <a:lnTo>
                      <a:pt x="1001" y="0"/>
                    </a:lnTo>
                    <a:lnTo>
                      <a:pt x="1001" y="254"/>
                    </a:lnTo>
                    <a:lnTo>
                      <a:pt x="1176" y="254"/>
                    </a:lnTo>
                    <a:lnTo>
                      <a:pt x="1176" y="320"/>
                    </a:lnTo>
                    <a:lnTo>
                      <a:pt x="1785" y="320"/>
                    </a:lnTo>
                    <a:lnTo>
                      <a:pt x="1785" y="536"/>
                    </a:lnTo>
                    <a:lnTo>
                      <a:pt x="1176" y="536"/>
                    </a:lnTo>
                    <a:lnTo>
                      <a:pt x="1176" y="603"/>
                    </a:lnTo>
                    <a:lnTo>
                      <a:pt x="610" y="603"/>
                    </a:lnTo>
                    <a:lnTo>
                      <a:pt x="610" y="536"/>
                    </a:lnTo>
                    <a:lnTo>
                      <a:pt x="0" y="536"/>
                    </a:lnTo>
                    <a:lnTo>
                      <a:pt x="0" y="320"/>
                    </a:lnTo>
                    <a:lnTo>
                      <a:pt x="610" y="320"/>
                    </a:lnTo>
                    <a:lnTo>
                      <a:pt x="610" y="254"/>
                    </a:lnTo>
                    <a:lnTo>
                      <a:pt x="785" y="254"/>
                    </a:lnTo>
                    <a:lnTo>
                      <a:pt x="78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62" name="Freeform 211"/>
              <p:cNvSpPr>
                <a:spLocks/>
              </p:cNvSpPr>
              <p:nvPr/>
            </p:nvSpPr>
            <p:spPr bwMode="auto">
              <a:xfrm>
                <a:off x="3703" y="3242"/>
                <a:ext cx="215" cy="125"/>
              </a:xfrm>
              <a:custGeom>
                <a:avLst/>
                <a:gdLst>
                  <a:gd name="T0" fmla="*/ 0 w 3219"/>
                  <a:gd name="T1" fmla="*/ 0 h 1880"/>
                  <a:gd name="T2" fmla="*/ 0 w 3219"/>
                  <a:gd name="T3" fmla="*/ 0 h 1880"/>
                  <a:gd name="T4" fmla="*/ 0 w 3219"/>
                  <a:gd name="T5" fmla="*/ 0 h 1880"/>
                  <a:gd name="T6" fmla="*/ 0 w 3219"/>
                  <a:gd name="T7" fmla="*/ 0 h 1880"/>
                  <a:gd name="T8" fmla="*/ 0 w 3219"/>
                  <a:gd name="T9" fmla="*/ 0 h 1880"/>
                  <a:gd name="T10" fmla="*/ 0 w 3219"/>
                  <a:gd name="T11" fmla="*/ 0 h 1880"/>
                  <a:gd name="T12" fmla="*/ 0 w 3219"/>
                  <a:gd name="T13" fmla="*/ 0 h 1880"/>
                  <a:gd name="T14" fmla="*/ 0 w 3219"/>
                  <a:gd name="T15" fmla="*/ 0 h 1880"/>
                  <a:gd name="T16" fmla="*/ 0 w 3219"/>
                  <a:gd name="T17" fmla="*/ 0 h 1880"/>
                  <a:gd name="T18" fmla="*/ 0 w 3219"/>
                  <a:gd name="T19" fmla="*/ 0 h 1880"/>
                  <a:gd name="T20" fmla="*/ 0 w 3219"/>
                  <a:gd name="T21" fmla="*/ 0 h 1880"/>
                  <a:gd name="T22" fmla="*/ 0 w 3219"/>
                  <a:gd name="T23" fmla="*/ 0 h 1880"/>
                  <a:gd name="T24" fmla="*/ 0 w 3219"/>
                  <a:gd name="T25" fmla="*/ 0 h 1880"/>
                  <a:gd name="T26" fmla="*/ 0 w 3219"/>
                  <a:gd name="T27" fmla="*/ 0 h 1880"/>
                  <a:gd name="T28" fmla="*/ 0 w 3219"/>
                  <a:gd name="T29" fmla="*/ 0 h 1880"/>
                  <a:gd name="T30" fmla="*/ 0 w 3219"/>
                  <a:gd name="T31" fmla="*/ 0 h 1880"/>
                  <a:gd name="T32" fmla="*/ 0 w 3219"/>
                  <a:gd name="T33" fmla="*/ 0 h 1880"/>
                  <a:gd name="T34" fmla="*/ 0 w 3219"/>
                  <a:gd name="T35" fmla="*/ 0 h 1880"/>
                  <a:gd name="T36" fmla="*/ 0 w 3219"/>
                  <a:gd name="T37" fmla="*/ 0 h 1880"/>
                  <a:gd name="T38" fmla="*/ 0 w 3219"/>
                  <a:gd name="T39" fmla="*/ 0 h 1880"/>
                  <a:gd name="T40" fmla="*/ 0 w 3219"/>
                  <a:gd name="T41" fmla="*/ 0 h 1880"/>
                  <a:gd name="T42" fmla="*/ 0 w 3219"/>
                  <a:gd name="T43" fmla="*/ 0 h 1880"/>
                  <a:gd name="T44" fmla="*/ 0 w 3219"/>
                  <a:gd name="T45" fmla="*/ 0 h 1880"/>
                  <a:gd name="T46" fmla="*/ 0 w 3219"/>
                  <a:gd name="T47" fmla="*/ 0 h 1880"/>
                  <a:gd name="T48" fmla="*/ 0 w 3219"/>
                  <a:gd name="T49" fmla="*/ 0 h 1880"/>
                  <a:gd name="T50" fmla="*/ 0 w 3219"/>
                  <a:gd name="T51" fmla="*/ 0 h 1880"/>
                  <a:gd name="T52" fmla="*/ 0 w 3219"/>
                  <a:gd name="T53" fmla="*/ 0 h 1880"/>
                  <a:gd name="T54" fmla="*/ 0 w 3219"/>
                  <a:gd name="T55" fmla="*/ 0 h 1880"/>
                  <a:gd name="T56" fmla="*/ 0 w 3219"/>
                  <a:gd name="T57" fmla="*/ 0 h 1880"/>
                  <a:gd name="T58" fmla="*/ 0 w 3219"/>
                  <a:gd name="T59" fmla="*/ 0 h 1880"/>
                  <a:gd name="T60" fmla="*/ 0 w 3219"/>
                  <a:gd name="T61" fmla="*/ 0 h 1880"/>
                  <a:gd name="T62" fmla="*/ 0 w 3219"/>
                  <a:gd name="T63" fmla="*/ 0 h 1880"/>
                  <a:gd name="T64" fmla="*/ 0 w 3219"/>
                  <a:gd name="T65" fmla="*/ 0 h 1880"/>
                  <a:gd name="T66" fmla="*/ 0 w 3219"/>
                  <a:gd name="T67" fmla="*/ 0 h 1880"/>
                  <a:gd name="T68" fmla="*/ 0 w 3219"/>
                  <a:gd name="T69" fmla="*/ 0 h 1880"/>
                  <a:gd name="T70" fmla="*/ 0 w 3219"/>
                  <a:gd name="T71" fmla="*/ 0 h 1880"/>
                  <a:gd name="T72" fmla="*/ 0 w 3219"/>
                  <a:gd name="T73" fmla="*/ 0 h 1880"/>
                  <a:gd name="T74" fmla="*/ 0 w 3219"/>
                  <a:gd name="T75" fmla="*/ 0 h 1880"/>
                  <a:gd name="T76" fmla="*/ 0 w 3219"/>
                  <a:gd name="T77" fmla="*/ 0 h 1880"/>
                  <a:gd name="T78" fmla="*/ 0 w 3219"/>
                  <a:gd name="T79" fmla="*/ 0 h 1880"/>
                  <a:gd name="T80" fmla="*/ 0 w 3219"/>
                  <a:gd name="T81" fmla="*/ 0 h 1880"/>
                  <a:gd name="T82" fmla="*/ 0 w 3219"/>
                  <a:gd name="T83" fmla="*/ 0 h 1880"/>
                  <a:gd name="T84" fmla="*/ 0 w 3219"/>
                  <a:gd name="T85" fmla="*/ 0 h 1880"/>
                  <a:gd name="T86" fmla="*/ 0 w 3219"/>
                  <a:gd name="T87" fmla="*/ 0 h 1880"/>
                  <a:gd name="T88" fmla="*/ 0 w 3219"/>
                  <a:gd name="T89" fmla="*/ 0 h 1880"/>
                  <a:gd name="T90" fmla="*/ 0 w 3219"/>
                  <a:gd name="T91" fmla="*/ 0 h 1880"/>
                  <a:gd name="T92" fmla="*/ 0 w 3219"/>
                  <a:gd name="T93" fmla="*/ 0 h 1880"/>
                  <a:gd name="T94" fmla="*/ 0 w 3219"/>
                  <a:gd name="T95" fmla="*/ 0 h 1880"/>
                  <a:gd name="T96" fmla="*/ 0 w 3219"/>
                  <a:gd name="T97" fmla="*/ 0 h 1880"/>
                  <a:gd name="T98" fmla="*/ 0 w 3219"/>
                  <a:gd name="T99" fmla="*/ 0 h 1880"/>
                  <a:gd name="T100" fmla="*/ 0 w 3219"/>
                  <a:gd name="T101" fmla="*/ 0 h 1880"/>
                  <a:gd name="T102" fmla="*/ 0 w 3219"/>
                  <a:gd name="T103" fmla="*/ 0 h 1880"/>
                  <a:gd name="T104" fmla="*/ 0 w 3219"/>
                  <a:gd name="T105" fmla="*/ 0 h 1880"/>
                  <a:gd name="T106" fmla="*/ 0 w 3219"/>
                  <a:gd name="T107" fmla="*/ 0 h 1880"/>
                  <a:gd name="T108" fmla="*/ 0 w 3219"/>
                  <a:gd name="T109" fmla="*/ 0 h 188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219"/>
                  <a:gd name="T166" fmla="*/ 0 h 1880"/>
                  <a:gd name="T167" fmla="*/ 3219 w 3219"/>
                  <a:gd name="T168" fmla="*/ 1880 h 188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219" h="1880">
                    <a:moveTo>
                      <a:pt x="1381" y="0"/>
                    </a:moveTo>
                    <a:lnTo>
                      <a:pt x="1445" y="3"/>
                    </a:lnTo>
                    <a:lnTo>
                      <a:pt x="1509" y="10"/>
                    </a:lnTo>
                    <a:lnTo>
                      <a:pt x="1571" y="24"/>
                    </a:lnTo>
                    <a:lnTo>
                      <a:pt x="1631" y="41"/>
                    </a:lnTo>
                    <a:lnTo>
                      <a:pt x="1691" y="63"/>
                    </a:lnTo>
                    <a:lnTo>
                      <a:pt x="1748" y="90"/>
                    </a:lnTo>
                    <a:lnTo>
                      <a:pt x="1802" y="122"/>
                    </a:lnTo>
                    <a:lnTo>
                      <a:pt x="1855" y="158"/>
                    </a:lnTo>
                    <a:lnTo>
                      <a:pt x="1872" y="168"/>
                    </a:lnTo>
                    <a:lnTo>
                      <a:pt x="1890" y="174"/>
                    </a:lnTo>
                    <a:lnTo>
                      <a:pt x="1909" y="175"/>
                    </a:lnTo>
                    <a:lnTo>
                      <a:pt x="1951" y="174"/>
                    </a:lnTo>
                    <a:lnTo>
                      <a:pt x="2012" y="177"/>
                    </a:lnTo>
                    <a:lnTo>
                      <a:pt x="2071" y="184"/>
                    </a:lnTo>
                    <a:lnTo>
                      <a:pt x="2130" y="197"/>
                    </a:lnTo>
                    <a:lnTo>
                      <a:pt x="2187" y="215"/>
                    </a:lnTo>
                    <a:lnTo>
                      <a:pt x="2242" y="237"/>
                    </a:lnTo>
                    <a:lnTo>
                      <a:pt x="2295" y="264"/>
                    </a:lnTo>
                    <a:lnTo>
                      <a:pt x="2345" y="296"/>
                    </a:lnTo>
                    <a:lnTo>
                      <a:pt x="2393" y="331"/>
                    </a:lnTo>
                    <a:lnTo>
                      <a:pt x="2437" y="370"/>
                    </a:lnTo>
                    <a:lnTo>
                      <a:pt x="2479" y="413"/>
                    </a:lnTo>
                    <a:lnTo>
                      <a:pt x="2517" y="459"/>
                    </a:lnTo>
                    <a:lnTo>
                      <a:pt x="2528" y="473"/>
                    </a:lnTo>
                    <a:lnTo>
                      <a:pt x="2542" y="483"/>
                    </a:lnTo>
                    <a:lnTo>
                      <a:pt x="2558" y="489"/>
                    </a:lnTo>
                    <a:lnTo>
                      <a:pt x="2575" y="492"/>
                    </a:lnTo>
                    <a:lnTo>
                      <a:pt x="2642" y="501"/>
                    </a:lnTo>
                    <a:lnTo>
                      <a:pt x="2707" y="517"/>
                    </a:lnTo>
                    <a:lnTo>
                      <a:pt x="2769" y="537"/>
                    </a:lnTo>
                    <a:lnTo>
                      <a:pt x="2828" y="563"/>
                    </a:lnTo>
                    <a:lnTo>
                      <a:pt x="2884" y="595"/>
                    </a:lnTo>
                    <a:lnTo>
                      <a:pt x="2937" y="631"/>
                    </a:lnTo>
                    <a:lnTo>
                      <a:pt x="2986" y="671"/>
                    </a:lnTo>
                    <a:lnTo>
                      <a:pt x="3032" y="716"/>
                    </a:lnTo>
                    <a:lnTo>
                      <a:pt x="3073" y="765"/>
                    </a:lnTo>
                    <a:lnTo>
                      <a:pt x="3110" y="818"/>
                    </a:lnTo>
                    <a:lnTo>
                      <a:pt x="3142" y="873"/>
                    </a:lnTo>
                    <a:lnTo>
                      <a:pt x="3168" y="933"/>
                    </a:lnTo>
                    <a:lnTo>
                      <a:pt x="3190" y="994"/>
                    </a:lnTo>
                    <a:lnTo>
                      <a:pt x="3205" y="1058"/>
                    </a:lnTo>
                    <a:lnTo>
                      <a:pt x="3216" y="1125"/>
                    </a:lnTo>
                    <a:lnTo>
                      <a:pt x="3219" y="1193"/>
                    </a:lnTo>
                    <a:lnTo>
                      <a:pt x="3216" y="1259"/>
                    </a:lnTo>
                    <a:lnTo>
                      <a:pt x="3206" y="1324"/>
                    </a:lnTo>
                    <a:lnTo>
                      <a:pt x="3191" y="1387"/>
                    </a:lnTo>
                    <a:lnTo>
                      <a:pt x="3170" y="1447"/>
                    </a:lnTo>
                    <a:lnTo>
                      <a:pt x="3145" y="1506"/>
                    </a:lnTo>
                    <a:lnTo>
                      <a:pt x="3114" y="1560"/>
                    </a:lnTo>
                    <a:lnTo>
                      <a:pt x="3079" y="1613"/>
                    </a:lnTo>
                    <a:lnTo>
                      <a:pt x="3039" y="1661"/>
                    </a:lnTo>
                    <a:lnTo>
                      <a:pt x="2995" y="1706"/>
                    </a:lnTo>
                    <a:lnTo>
                      <a:pt x="2947" y="1746"/>
                    </a:lnTo>
                    <a:lnTo>
                      <a:pt x="2896" y="1783"/>
                    </a:lnTo>
                    <a:lnTo>
                      <a:pt x="2842" y="1815"/>
                    </a:lnTo>
                    <a:lnTo>
                      <a:pt x="2784" y="1842"/>
                    </a:lnTo>
                    <a:lnTo>
                      <a:pt x="2723" y="1863"/>
                    </a:lnTo>
                    <a:lnTo>
                      <a:pt x="2662" y="1880"/>
                    </a:lnTo>
                    <a:lnTo>
                      <a:pt x="2662" y="1671"/>
                    </a:lnTo>
                    <a:lnTo>
                      <a:pt x="2660" y="1646"/>
                    </a:lnTo>
                    <a:lnTo>
                      <a:pt x="2655" y="1621"/>
                    </a:lnTo>
                    <a:lnTo>
                      <a:pt x="2648" y="1596"/>
                    </a:lnTo>
                    <a:lnTo>
                      <a:pt x="2693" y="1579"/>
                    </a:lnTo>
                    <a:lnTo>
                      <a:pt x="2736" y="1556"/>
                    </a:lnTo>
                    <a:lnTo>
                      <a:pt x="2776" y="1530"/>
                    </a:lnTo>
                    <a:lnTo>
                      <a:pt x="2812" y="1498"/>
                    </a:lnTo>
                    <a:lnTo>
                      <a:pt x="2845" y="1463"/>
                    </a:lnTo>
                    <a:lnTo>
                      <a:pt x="2872" y="1425"/>
                    </a:lnTo>
                    <a:lnTo>
                      <a:pt x="2897" y="1383"/>
                    </a:lnTo>
                    <a:lnTo>
                      <a:pt x="2916" y="1339"/>
                    </a:lnTo>
                    <a:lnTo>
                      <a:pt x="2930" y="1292"/>
                    </a:lnTo>
                    <a:lnTo>
                      <a:pt x="2939" y="1243"/>
                    </a:lnTo>
                    <a:lnTo>
                      <a:pt x="2942" y="1193"/>
                    </a:lnTo>
                    <a:lnTo>
                      <a:pt x="2939" y="1143"/>
                    </a:lnTo>
                    <a:lnTo>
                      <a:pt x="2931" y="1095"/>
                    </a:lnTo>
                    <a:lnTo>
                      <a:pt x="2917" y="1049"/>
                    </a:lnTo>
                    <a:lnTo>
                      <a:pt x="2898" y="1006"/>
                    </a:lnTo>
                    <a:lnTo>
                      <a:pt x="2875" y="965"/>
                    </a:lnTo>
                    <a:lnTo>
                      <a:pt x="2848" y="927"/>
                    </a:lnTo>
                    <a:lnTo>
                      <a:pt x="2817" y="892"/>
                    </a:lnTo>
                    <a:lnTo>
                      <a:pt x="2782" y="861"/>
                    </a:lnTo>
                    <a:lnTo>
                      <a:pt x="2744" y="833"/>
                    </a:lnTo>
                    <a:lnTo>
                      <a:pt x="2703" y="811"/>
                    </a:lnTo>
                    <a:lnTo>
                      <a:pt x="2660" y="792"/>
                    </a:lnTo>
                    <a:lnTo>
                      <a:pt x="2613" y="778"/>
                    </a:lnTo>
                    <a:lnTo>
                      <a:pt x="2565" y="769"/>
                    </a:lnTo>
                    <a:lnTo>
                      <a:pt x="2516" y="767"/>
                    </a:lnTo>
                    <a:lnTo>
                      <a:pt x="2472" y="769"/>
                    </a:lnTo>
                    <a:lnTo>
                      <a:pt x="2449" y="769"/>
                    </a:lnTo>
                    <a:lnTo>
                      <a:pt x="2425" y="765"/>
                    </a:lnTo>
                    <a:lnTo>
                      <a:pt x="2403" y="757"/>
                    </a:lnTo>
                    <a:lnTo>
                      <a:pt x="2381" y="746"/>
                    </a:lnTo>
                    <a:lnTo>
                      <a:pt x="2362" y="730"/>
                    </a:lnTo>
                    <a:lnTo>
                      <a:pt x="2347" y="713"/>
                    </a:lnTo>
                    <a:lnTo>
                      <a:pt x="2335" y="691"/>
                    </a:lnTo>
                    <a:lnTo>
                      <a:pt x="2311" y="648"/>
                    </a:lnTo>
                    <a:lnTo>
                      <a:pt x="2283" y="609"/>
                    </a:lnTo>
                    <a:lnTo>
                      <a:pt x="2251" y="574"/>
                    </a:lnTo>
                    <a:lnTo>
                      <a:pt x="2215" y="542"/>
                    </a:lnTo>
                    <a:lnTo>
                      <a:pt x="2177" y="515"/>
                    </a:lnTo>
                    <a:lnTo>
                      <a:pt x="2136" y="492"/>
                    </a:lnTo>
                    <a:lnTo>
                      <a:pt x="2093" y="475"/>
                    </a:lnTo>
                    <a:lnTo>
                      <a:pt x="2047" y="461"/>
                    </a:lnTo>
                    <a:lnTo>
                      <a:pt x="2000" y="453"/>
                    </a:lnTo>
                    <a:lnTo>
                      <a:pt x="1951" y="450"/>
                    </a:lnTo>
                    <a:lnTo>
                      <a:pt x="1907" y="453"/>
                    </a:lnTo>
                    <a:lnTo>
                      <a:pt x="1864" y="459"/>
                    </a:lnTo>
                    <a:lnTo>
                      <a:pt x="1837" y="462"/>
                    </a:lnTo>
                    <a:lnTo>
                      <a:pt x="1809" y="460"/>
                    </a:lnTo>
                    <a:lnTo>
                      <a:pt x="1784" y="452"/>
                    </a:lnTo>
                    <a:lnTo>
                      <a:pt x="1760" y="440"/>
                    </a:lnTo>
                    <a:lnTo>
                      <a:pt x="1738" y="423"/>
                    </a:lnTo>
                    <a:lnTo>
                      <a:pt x="1701" y="389"/>
                    </a:lnTo>
                    <a:lnTo>
                      <a:pt x="1661" y="361"/>
                    </a:lnTo>
                    <a:lnTo>
                      <a:pt x="1618" y="335"/>
                    </a:lnTo>
                    <a:lnTo>
                      <a:pt x="1574" y="314"/>
                    </a:lnTo>
                    <a:lnTo>
                      <a:pt x="1528" y="298"/>
                    </a:lnTo>
                    <a:lnTo>
                      <a:pt x="1479" y="287"/>
                    </a:lnTo>
                    <a:lnTo>
                      <a:pt x="1431" y="279"/>
                    </a:lnTo>
                    <a:lnTo>
                      <a:pt x="1381" y="277"/>
                    </a:lnTo>
                    <a:lnTo>
                      <a:pt x="1327" y="279"/>
                    </a:lnTo>
                    <a:lnTo>
                      <a:pt x="1275" y="288"/>
                    </a:lnTo>
                    <a:lnTo>
                      <a:pt x="1224" y="301"/>
                    </a:lnTo>
                    <a:lnTo>
                      <a:pt x="1176" y="319"/>
                    </a:lnTo>
                    <a:lnTo>
                      <a:pt x="1130" y="342"/>
                    </a:lnTo>
                    <a:lnTo>
                      <a:pt x="1087" y="370"/>
                    </a:lnTo>
                    <a:lnTo>
                      <a:pt x="1046" y="402"/>
                    </a:lnTo>
                    <a:lnTo>
                      <a:pt x="1008" y="437"/>
                    </a:lnTo>
                    <a:lnTo>
                      <a:pt x="976" y="476"/>
                    </a:lnTo>
                    <a:lnTo>
                      <a:pt x="946" y="519"/>
                    </a:lnTo>
                    <a:lnTo>
                      <a:pt x="920" y="564"/>
                    </a:lnTo>
                    <a:lnTo>
                      <a:pt x="900" y="613"/>
                    </a:lnTo>
                    <a:lnTo>
                      <a:pt x="884" y="665"/>
                    </a:lnTo>
                    <a:lnTo>
                      <a:pt x="875" y="691"/>
                    </a:lnTo>
                    <a:lnTo>
                      <a:pt x="859" y="715"/>
                    </a:lnTo>
                    <a:lnTo>
                      <a:pt x="841" y="735"/>
                    </a:lnTo>
                    <a:lnTo>
                      <a:pt x="819" y="751"/>
                    </a:lnTo>
                    <a:lnTo>
                      <a:pt x="795" y="762"/>
                    </a:lnTo>
                    <a:lnTo>
                      <a:pt x="767" y="768"/>
                    </a:lnTo>
                    <a:lnTo>
                      <a:pt x="739" y="768"/>
                    </a:lnTo>
                    <a:lnTo>
                      <a:pt x="703" y="767"/>
                    </a:lnTo>
                    <a:lnTo>
                      <a:pt x="654" y="769"/>
                    </a:lnTo>
                    <a:lnTo>
                      <a:pt x="605" y="778"/>
                    </a:lnTo>
                    <a:lnTo>
                      <a:pt x="560" y="792"/>
                    </a:lnTo>
                    <a:lnTo>
                      <a:pt x="516" y="811"/>
                    </a:lnTo>
                    <a:lnTo>
                      <a:pt x="475" y="833"/>
                    </a:lnTo>
                    <a:lnTo>
                      <a:pt x="437" y="861"/>
                    </a:lnTo>
                    <a:lnTo>
                      <a:pt x="402" y="892"/>
                    </a:lnTo>
                    <a:lnTo>
                      <a:pt x="371" y="927"/>
                    </a:lnTo>
                    <a:lnTo>
                      <a:pt x="344" y="965"/>
                    </a:lnTo>
                    <a:lnTo>
                      <a:pt x="321" y="1006"/>
                    </a:lnTo>
                    <a:lnTo>
                      <a:pt x="302" y="1049"/>
                    </a:lnTo>
                    <a:lnTo>
                      <a:pt x="289" y="1095"/>
                    </a:lnTo>
                    <a:lnTo>
                      <a:pt x="281" y="1143"/>
                    </a:lnTo>
                    <a:lnTo>
                      <a:pt x="278" y="1193"/>
                    </a:lnTo>
                    <a:lnTo>
                      <a:pt x="281" y="1243"/>
                    </a:lnTo>
                    <a:lnTo>
                      <a:pt x="289" y="1292"/>
                    </a:lnTo>
                    <a:lnTo>
                      <a:pt x="303" y="1339"/>
                    </a:lnTo>
                    <a:lnTo>
                      <a:pt x="323" y="1383"/>
                    </a:lnTo>
                    <a:lnTo>
                      <a:pt x="346" y="1425"/>
                    </a:lnTo>
                    <a:lnTo>
                      <a:pt x="375" y="1463"/>
                    </a:lnTo>
                    <a:lnTo>
                      <a:pt x="407" y="1498"/>
                    </a:lnTo>
                    <a:lnTo>
                      <a:pt x="444" y="1530"/>
                    </a:lnTo>
                    <a:lnTo>
                      <a:pt x="483" y="1556"/>
                    </a:lnTo>
                    <a:lnTo>
                      <a:pt x="525" y="1579"/>
                    </a:lnTo>
                    <a:lnTo>
                      <a:pt x="571" y="1596"/>
                    </a:lnTo>
                    <a:lnTo>
                      <a:pt x="564" y="1621"/>
                    </a:lnTo>
                    <a:lnTo>
                      <a:pt x="559" y="1646"/>
                    </a:lnTo>
                    <a:lnTo>
                      <a:pt x="558" y="1671"/>
                    </a:lnTo>
                    <a:lnTo>
                      <a:pt x="558" y="1880"/>
                    </a:lnTo>
                    <a:lnTo>
                      <a:pt x="495" y="1863"/>
                    </a:lnTo>
                    <a:lnTo>
                      <a:pt x="436" y="1842"/>
                    </a:lnTo>
                    <a:lnTo>
                      <a:pt x="378" y="1815"/>
                    </a:lnTo>
                    <a:lnTo>
                      <a:pt x="324" y="1783"/>
                    </a:lnTo>
                    <a:lnTo>
                      <a:pt x="272" y="1746"/>
                    </a:lnTo>
                    <a:lnTo>
                      <a:pt x="224" y="1706"/>
                    </a:lnTo>
                    <a:lnTo>
                      <a:pt x="181" y="1661"/>
                    </a:lnTo>
                    <a:lnTo>
                      <a:pt x="141" y="1613"/>
                    </a:lnTo>
                    <a:lnTo>
                      <a:pt x="105" y="1560"/>
                    </a:lnTo>
                    <a:lnTo>
                      <a:pt x="74" y="1506"/>
                    </a:lnTo>
                    <a:lnTo>
                      <a:pt x="48" y="1447"/>
                    </a:lnTo>
                    <a:lnTo>
                      <a:pt x="28" y="1387"/>
                    </a:lnTo>
                    <a:lnTo>
                      <a:pt x="13" y="1324"/>
                    </a:lnTo>
                    <a:lnTo>
                      <a:pt x="4" y="1259"/>
                    </a:lnTo>
                    <a:lnTo>
                      <a:pt x="0" y="1193"/>
                    </a:lnTo>
                    <a:lnTo>
                      <a:pt x="3" y="1127"/>
                    </a:lnTo>
                    <a:lnTo>
                      <a:pt x="12" y="1063"/>
                    </a:lnTo>
                    <a:lnTo>
                      <a:pt x="27" y="1001"/>
                    </a:lnTo>
                    <a:lnTo>
                      <a:pt x="47" y="941"/>
                    </a:lnTo>
                    <a:lnTo>
                      <a:pt x="72" y="883"/>
                    </a:lnTo>
                    <a:lnTo>
                      <a:pt x="102" y="829"/>
                    </a:lnTo>
                    <a:lnTo>
                      <a:pt x="137" y="778"/>
                    </a:lnTo>
                    <a:lnTo>
                      <a:pt x="175" y="729"/>
                    </a:lnTo>
                    <a:lnTo>
                      <a:pt x="218" y="685"/>
                    </a:lnTo>
                    <a:lnTo>
                      <a:pt x="264" y="645"/>
                    </a:lnTo>
                    <a:lnTo>
                      <a:pt x="314" y="608"/>
                    </a:lnTo>
                    <a:lnTo>
                      <a:pt x="367" y="576"/>
                    </a:lnTo>
                    <a:lnTo>
                      <a:pt x="423" y="549"/>
                    </a:lnTo>
                    <a:lnTo>
                      <a:pt x="481" y="526"/>
                    </a:lnTo>
                    <a:lnTo>
                      <a:pt x="542" y="509"/>
                    </a:lnTo>
                    <a:lnTo>
                      <a:pt x="605" y="497"/>
                    </a:lnTo>
                    <a:lnTo>
                      <a:pt x="625" y="491"/>
                    </a:lnTo>
                    <a:lnTo>
                      <a:pt x="643" y="482"/>
                    </a:lnTo>
                    <a:lnTo>
                      <a:pt x="657" y="468"/>
                    </a:lnTo>
                    <a:lnTo>
                      <a:pt x="668" y="451"/>
                    </a:lnTo>
                    <a:lnTo>
                      <a:pt x="698" y="394"/>
                    </a:lnTo>
                    <a:lnTo>
                      <a:pt x="732" y="340"/>
                    </a:lnTo>
                    <a:lnTo>
                      <a:pt x="769" y="290"/>
                    </a:lnTo>
                    <a:lnTo>
                      <a:pt x="811" y="242"/>
                    </a:lnTo>
                    <a:lnTo>
                      <a:pt x="856" y="199"/>
                    </a:lnTo>
                    <a:lnTo>
                      <a:pt x="905" y="159"/>
                    </a:lnTo>
                    <a:lnTo>
                      <a:pt x="956" y="123"/>
                    </a:lnTo>
                    <a:lnTo>
                      <a:pt x="1011" y="92"/>
                    </a:lnTo>
                    <a:lnTo>
                      <a:pt x="1067" y="65"/>
                    </a:lnTo>
                    <a:lnTo>
                      <a:pt x="1127" y="42"/>
                    </a:lnTo>
                    <a:lnTo>
                      <a:pt x="1187" y="24"/>
                    </a:lnTo>
                    <a:lnTo>
                      <a:pt x="1250" y="11"/>
                    </a:lnTo>
                    <a:lnTo>
                      <a:pt x="1315" y="3"/>
                    </a:lnTo>
                    <a:lnTo>
                      <a:pt x="1381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</p:grpSp>
      <p:sp>
        <p:nvSpPr>
          <p:cNvPr id="166" name="Rectangle 165"/>
          <p:cNvSpPr/>
          <p:nvPr/>
        </p:nvSpPr>
        <p:spPr>
          <a:xfrm>
            <a:off x="952448" y="5161420"/>
            <a:ext cx="8544168" cy="234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bg2">
                  <a:alpha val="40000"/>
                </a:schemeClr>
              </a:gs>
            </a:gsLst>
            <a:lin ang="10800000" scaled="0"/>
          </a:gradFill>
          <a:ln w="19050">
            <a:noFill/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Architektura IT</a:t>
            </a:r>
            <a:endParaRPr lang="en-US" altLang="pl-PL" sz="1083" b="1" i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59" name="Rectangle 258"/>
          <p:cNvSpPr/>
          <p:nvPr/>
        </p:nvSpPr>
        <p:spPr>
          <a:xfrm>
            <a:off x="446057" y="4810544"/>
            <a:ext cx="9031716" cy="654476"/>
          </a:xfrm>
          <a:prstGeom prst="rect">
            <a:avLst/>
          </a:prstGeom>
          <a:noFill/>
          <a:ln w="19050">
            <a:solidFill>
              <a:srgbClr val="0166B6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517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5" name="Rectangle 194"/>
          <p:cNvSpPr/>
          <p:nvPr/>
        </p:nvSpPr>
        <p:spPr>
          <a:xfrm>
            <a:off x="8151503" y="5258920"/>
            <a:ext cx="1326000" cy="273000"/>
          </a:xfrm>
          <a:prstGeom prst="rect">
            <a:avLst/>
          </a:prstGeom>
          <a:solidFill>
            <a:srgbClr val="FFFC71">
              <a:alpha val="80000"/>
            </a:srgb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39000" rIns="0" bIns="39000" anchor="ctr"/>
          <a:lstStyle/>
          <a:p>
            <a:pPr algn="ctr">
              <a:lnSpc>
                <a:spcPct val="90000"/>
              </a:lnSpc>
            </a:pPr>
            <a:r>
              <a:rPr lang="pl-PL" sz="1192" b="1" i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Prace zakończone</a:t>
            </a:r>
            <a:endParaRPr lang="en-US" sz="1192" b="1" i="1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284" name="Rectangle 283"/>
          <p:cNvSpPr/>
          <p:nvPr/>
        </p:nvSpPr>
        <p:spPr>
          <a:xfrm>
            <a:off x="953223" y="3842754"/>
            <a:ext cx="8544168" cy="214992"/>
          </a:xfrm>
          <a:prstGeom prst="rect">
            <a:avLst/>
          </a:prstGeom>
          <a:noFill/>
          <a:ln w="19050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rgbClr val="0166B6">
                    <a:alpha val="35000"/>
                  </a:srgbClr>
                </a:gs>
              </a:gsLst>
              <a:lin ang="10800000" scaled="0"/>
            </a:gradFill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dirty="0">
                <a:latin typeface="Calibri" panose="020F0502020204030204" pitchFamily="34" charset="0"/>
              </a:rPr>
              <a:t>E-Edukacja</a:t>
            </a:r>
            <a:endParaRPr lang="en-US" altLang="pl-PL" sz="1083" b="1" dirty="0">
              <a:latin typeface="Calibri" panose="020F0502020204030204" pitchFamily="34" charset="0"/>
            </a:endParaRPr>
          </a:p>
        </p:txBody>
      </p:sp>
      <p:sp>
        <p:nvSpPr>
          <p:cNvPr id="287" name="Rectangle 286"/>
          <p:cNvSpPr/>
          <p:nvPr/>
        </p:nvSpPr>
        <p:spPr>
          <a:xfrm>
            <a:off x="531484" y="3829558"/>
            <a:ext cx="434395" cy="237589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en-US" sz="1517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1" name="AutoShape 3"/>
          <p:cNvSpPr>
            <a:spLocks noChangeAspect="1" noChangeArrowheads="1" noTextEdit="1"/>
          </p:cNvSpPr>
          <p:nvPr/>
        </p:nvSpPr>
        <p:spPr bwMode="auto">
          <a:xfrm>
            <a:off x="637543" y="3844659"/>
            <a:ext cx="209593" cy="209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950" dirty="0"/>
          </a:p>
        </p:txBody>
      </p:sp>
      <p:sp>
        <p:nvSpPr>
          <p:cNvPr id="312" name="Freeform 311"/>
          <p:cNvSpPr>
            <a:spLocks/>
          </p:cNvSpPr>
          <p:nvPr/>
        </p:nvSpPr>
        <p:spPr bwMode="auto">
          <a:xfrm>
            <a:off x="646387" y="3877603"/>
            <a:ext cx="191703" cy="154617"/>
          </a:xfrm>
          <a:custGeom>
            <a:avLst/>
            <a:gdLst>
              <a:gd name="connsiteX0" fmla="*/ 350794 w 1505727"/>
              <a:gd name="connsiteY0" fmla="*/ 1090612 h 1214437"/>
              <a:gd name="connsiteX1" fmla="*/ 1154933 w 1505727"/>
              <a:gd name="connsiteY1" fmla="*/ 1090612 h 1214437"/>
              <a:gd name="connsiteX2" fmla="*/ 1169944 w 1505727"/>
              <a:gd name="connsiteY2" fmla="*/ 1105557 h 1214437"/>
              <a:gd name="connsiteX3" fmla="*/ 1169944 w 1505727"/>
              <a:gd name="connsiteY3" fmla="*/ 1126194 h 1214437"/>
              <a:gd name="connsiteX4" fmla="*/ 1214976 w 1505727"/>
              <a:gd name="connsiteY4" fmla="*/ 1126194 h 1214437"/>
              <a:gd name="connsiteX5" fmla="*/ 1230701 w 1505727"/>
              <a:gd name="connsiteY5" fmla="*/ 1141850 h 1214437"/>
              <a:gd name="connsiteX6" fmla="*/ 1230701 w 1505727"/>
              <a:gd name="connsiteY6" fmla="*/ 1199493 h 1214437"/>
              <a:gd name="connsiteX7" fmla="*/ 1214976 w 1505727"/>
              <a:gd name="connsiteY7" fmla="*/ 1214437 h 1214437"/>
              <a:gd name="connsiteX8" fmla="*/ 290751 w 1505727"/>
              <a:gd name="connsiteY8" fmla="*/ 1214437 h 1214437"/>
              <a:gd name="connsiteX9" fmla="*/ 275026 w 1505727"/>
              <a:gd name="connsiteY9" fmla="*/ 1199493 h 1214437"/>
              <a:gd name="connsiteX10" fmla="*/ 275026 w 1505727"/>
              <a:gd name="connsiteY10" fmla="*/ 1141850 h 1214437"/>
              <a:gd name="connsiteX11" fmla="*/ 290751 w 1505727"/>
              <a:gd name="connsiteY11" fmla="*/ 1126194 h 1214437"/>
              <a:gd name="connsiteX12" fmla="*/ 335783 w 1505727"/>
              <a:gd name="connsiteY12" fmla="*/ 1126194 h 1214437"/>
              <a:gd name="connsiteX13" fmla="*/ 335783 w 1505727"/>
              <a:gd name="connsiteY13" fmla="*/ 1105557 h 1214437"/>
              <a:gd name="connsiteX14" fmla="*/ 350794 w 1505727"/>
              <a:gd name="connsiteY14" fmla="*/ 1090612 h 1214437"/>
              <a:gd name="connsiteX15" fmla="*/ 674282 w 1505727"/>
              <a:gd name="connsiteY15" fmla="*/ 736600 h 1214437"/>
              <a:gd name="connsiteX16" fmla="*/ 831444 w 1505727"/>
              <a:gd name="connsiteY16" fmla="*/ 736600 h 1214437"/>
              <a:gd name="connsiteX17" fmla="*/ 838588 w 1505727"/>
              <a:gd name="connsiteY17" fmla="*/ 743723 h 1214437"/>
              <a:gd name="connsiteX18" fmla="*/ 838588 w 1505727"/>
              <a:gd name="connsiteY18" fmla="*/ 1048566 h 1214437"/>
              <a:gd name="connsiteX19" fmla="*/ 831444 w 1505727"/>
              <a:gd name="connsiteY19" fmla="*/ 1055688 h 1214437"/>
              <a:gd name="connsiteX20" fmla="*/ 674282 w 1505727"/>
              <a:gd name="connsiteY20" fmla="*/ 1055688 h 1214437"/>
              <a:gd name="connsiteX21" fmla="*/ 667138 w 1505727"/>
              <a:gd name="connsiteY21" fmla="*/ 1048566 h 1214437"/>
              <a:gd name="connsiteX22" fmla="*/ 667138 w 1505727"/>
              <a:gd name="connsiteY22" fmla="*/ 743723 h 1214437"/>
              <a:gd name="connsiteX23" fmla="*/ 674282 w 1505727"/>
              <a:gd name="connsiteY23" fmla="*/ 736600 h 1214437"/>
              <a:gd name="connsiteX24" fmla="*/ 1306142 w 1505727"/>
              <a:gd name="connsiteY24" fmla="*/ 730250 h 1214437"/>
              <a:gd name="connsiteX25" fmla="*/ 1374335 w 1505727"/>
              <a:gd name="connsiteY25" fmla="*/ 730250 h 1214437"/>
              <a:gd name="connsiteX26" fmla="*/ 1381513 w 1505727"/>
              <a:gd name="connsiteY26" fmla="*/ 737428 h 1214437"/>
              <a:gd name="connsiteX27" fmla="*/ 1381513 w 1505727"/>
              <a:gd name="connsiteY27" fmla="*/ 805622 h 1214437"/>
              <a:gd name="connsiteX28" fmla="*/ 1374335 w 1505727"/>
              <a:gd name="connsiteY28" fmla="*/ 812800 h 1214437"/>
              <a:gd name="connsiteX29" fmla="*/ 1306142 w 1505727"/>
              <a:gd name="connsiteY29" fmla="*/ 812800 h 1214437"/>
              <a:gd name="connsiteX30" fmla="*/ 1298963 w 1505727"/>
              <a:gd name="connsiteY30" fmla="*/ 805622 h 1214437"/>
              <a:gd name="connsiteX31" fmla="*/ 1298963 w 1505727"/>
              <a:gd name="connsiteY31" fmla="*/ 737428 h 1214437"/>
              <a:gd name="connsiteX32" fmla="*/ 1306142 w 1505727"/>
              <a:gd name="connsiteY32" fmla="*/ 730250 h 1214437"/>
              <a:gd name="connsiteX33" fmla="*/ 1188529 w 1505727"/>
              <a:gd name="connsiteY33" fmla="*/ 730250 h 1214437"/>
              <a:gd name="connsiteX34" fmla="*/ 1255411 w 1505727"/>
              <a:gd name="connsiteY34" fmla="*/ 730250 h 1214437"/>
              <a:gd name="connsiteX35" fmla="*/ 1262451 w 1505727"/>
              <a:gd name="connsiteY35" fmla="*/ 737428 h 1214437"/>
              <a:gd name="connsiteX36" fmla="*/ 1262451 w 1505727"/>
              <a:gd name="connsiteY36" fmla="*/ 805622 h 1214437"/>
              <a:gd name="connsiteX37" fmla="*/ 1255411 w 1505727"/>
              <a:gd name="connsiteY37" fmla="*/ 812800 h 1214437"/>
              <a:gd name="connsiteX38" fmla="*/ 1188529 w 1505727"/>
              <a:gd name="connsiteY38" fmla="*/ 812800 h 1214437"/>
              <a:gd name="connsiteX39" fmla="*/ 1181488 w 1505727"/>
              <a:gd name="connsiteY39" fmla="*/ 805622 h 1214437"/>
              <a:gd name="connsiteX40" fmla="*/ 1181488 w 1505727"/>
              <a:gd name="connsiteY40" fmla="*/ 737428 h 1214437"/>
              <a:gd name="connsiteX41" fmla="*/ 1188529 w 1505727"/>
              <a:gd name="connsiteY41" fmla="*/ 730250 h 1214437"/>
              <a:gd name="connsiteX42" fmla="*/ 248866 w 1505727"/>
              <a:gd name="connsiteY42" fmla="*/ 730250 h 1214437"/>
              <a:gd name="connsiteX43" fmla="*/ 317059 w 1505727"/>
              <a:gd name="connsiteY43" fmla="*/ 730250 h 1214437"/>
              <a:gd name="connsiteX44" fmla="*/ 324238 w 1505727"/>
              <a:gd name="connsiteY44" fmla="*/ 737428 h 1214437"/>
              <a:gd name="connsiteX45" fmla="*/ 324238 w 1505727"/>
              <a:gd name="connsiteY45" fmla="*/ 805622 h 1214437"/>
              <a:gd name="connsiteX46" fmla="*/ 317059 w 1505727"/>
              <a:gd name="connsiteY46" fmla="*/ 812800 h 1214437"/>
              <a:gd name="connsiteX47" fmla="*/ 248866 w 1505727"/>
              <a:gd name="connsiteY47" fmla="*/ 812800 h 1214437"/>
              <a:gd name="connsiteX48" fmla="*/ 241688 w 1505727"/>
              <a:gd name="connsiteY48" fmla="*/ 805622 h 1214437"/>
              <a:gd name="connsiteX49" fmla="*/ 241688 w 1505727"/>
              <a:gd name="connsiteY49" fmla="*/ 737428 h 1214437"/>
              <a:gd name="connsiteX50" fmla="*/ 248866 w 1505727"/>
              <a:gd name="connsiteY50" fmla="*/ 730250 h 1214437"/>
              <a:gd name="connsiteX51" fmla="*/ 131253 w 1505727"/>
              <a:gd name="connsiteY51" fmla="*/ 730250 h 1214437"/>
              <a:gd name="connsiteX52" fmla="*/ 198135 w 1505727"/>
              <a:gd name="connsiteY52" fmla="*/ 730250 h 1214437"/>
              <a:gd name="connsiteX53" fmla="*/ 205176 w 1505727"/>
              <a:gd name="connsiteY53" fmla="*/ 737428 h 1214437"/>
              <a:gd name="connsiteX54" fmla="*/ 205176 w 1505727"/>
              <a:gd name="connsiteY54" fmla="*/ 805622 h 1214437"/>
              <a:gd name="connsiteX55" fmla="*/ 198135 w 1505727"/>
              <a:gd name="connsiteY55" fmla="*/ 812800 h 1214437"/>
              <a:gd name="connsiteX56" fmla="*/ 131253 w 1505727"/>
              <a:gd name="connsiteY56" fmla="*/ 812800 h 1214437"/>
              <a:gd name="connsiteX57" fmla="*/ 124213 w 1505727"/>
              <a:gd name="connsiteY57" fmla="*/ 805622 h 1214437"/>
              <a:gd name="connsiteX58" fmla="*/ 124213 w 1505727"/>
              <a:gd name="connsiteY58" fmla="*/ 737428 h 1214437"/>
              <a:gd name="connsiteX59" fmla="*/ 131253 w 1505727"/>
              <a:gd name="connsiteY59" fmla="*/ 730250 h 1214437"/>
              <a:gd name="connsiteX60" fmla="*/ 983051 w 1505727"/>
              <a:gd name="connsiteY60" fmla="*/ 638175 h 1214437"/>
              <a:gd name="connsiteX61" fmla="*/ 1049726 w 1505727"/>
              <a:gd name="connsiteY61" fmla="*/ 703683 h 1214437"/>
              <a:gd name="connsiteX62" fmla="*/ 1049726 w 1505727"/>
              <a:gd name="connsiteY62" fmla="*/ 928688 h 1214437"/>
              <a:gd name="connsiteX63" fmla="*/ 916376 w 1505727"/>
              <a:gd name="connsiteY63" fmla="*/ 928688 h 1214437"/>
              <a:gd name="connsiteX64" fmla="*/ 916376 w 1505727"/>
              <a:gd name="connsiteY64" fmla="*/ 703683 h 1214437"/>
              <a:gd name="connsiteX65" fmla="*/ 983051 w 1505727"/>
              <a:gd name="connsiteY65" fmla="*/ 638175 h 1214437"/>
              <a:gd name="connsiteX66" fmla="*/ 522676 w 1505727"/>
              <a:gd name="connsiteY66" fmla="*/ 638175 h 1214437"/>
              <a:gd name="connsiteX67" fmla="*/ 589351 w 1505727"/>
              <a:gd name="connsiteY67" fmla="*/ 703683 h 1214437"/>
              <a:gd name="connsiteX68" fmla="*/ 589351 w 1505727"/>
              <a:gd name="connsiteY68" fmla="*/ 928688 h 1214437"/>
              <a:gd name="connsiteX69" fmla="*/ 456001 w 1505727"/>
              <a:gd name="connsiteY69" fmla="*/ 928688 h 1214437"/>
              <a:gd name="connsiteX70" fmla="*/ 456001 w 1505727"/>
              <a:gd name="connsiteY70" fmla="*/ 703683 h 1214437"/>
              <a:gd name="connsiteX71" fmla="*/ 522676 w 1505727"/>
              <a:gd name="connsiteY71" fmla="*/ 638175 h 1214437"/>
              <a:gd name="connsiteX72" fmla="*/ 1306142 w 1505727"/>
              <a:gd name="connsiteY72" fmla="*/ 614362 h 1214437"/>
              <a:gd name="connsiteX73" fmla="*/ 1374335 w 1505727"/>
              <a:gd name="connsiteY73" fmla="*/ 614362 h 1214437"/>
              <a:gd name="connsiteX74" fmla="*/ 1381513 w 1505727"/>
              <a:gd name="connsiteY74" fmla="*/ 621540 h 1214437"/>
              <a:gd name="connsiteX75" fmla="*/ 1381513 w 1505727"/>
              <a:gd name="connsiteY75" fmla="*/ 689734 h 1214437"/>
              <a:gd name="connsiteX76" fmla="*/ 1374335 w 1505727"/>
              <a:gd name="connsiteY76" fmla="*/ 696912 h 1214437"/>
              <a:gd name="connsiteX77" fmla="*/ 1306142 w 1505727"/>
              <a:gd name="connsiteY77" fmla="*/ 696912 h 1214437"/>
              <a:gd name="connsiteX78" fmla="*/ 1298963 w 1505727"/>
              <a:gd name="connsiteY78" fmla="*/ 689734 h 1214437"/>
              <a:gd name="connsiteX79" fmla="*/ 1298963 w 1505727"/>
              <a:gd name="connsiteY79" fmla="*/ 621540 h 1214437"/>
              <a:gd name="connsiteX80" fmla="*/ 1306142 w 1505727"/>
              <a:gd name="connsiteY80" fmla="*/ 614362 h 1214437"/>
              <a:gd name="connsiteX81" fmla="*/ 1188529 w 1505727"/>
              <a:gd name="connsiteY81" fmla="*/ 614362 h 1214437"/>
              <a:gd name="connsiteX82" fmla="*/ 1255411 w 1505727"/>
              <a:gd name="connsiteY82" fmla="*/ 614362 h 1214437"/>
              <a:gd name="connsiteX83" fmla="*/ 1262451 w 1505727"/>
              <a:gd name="connsiteY83" fmla="*/ 621540 h 1214437"/>
              <a:gd name="connsiteX84" fmla="*/ 1262451 w 1505727"/>
              <a:gd name="connsiteY84" fmla="*/ 689734 h 1214437"/>
              <a:gd name="connsiteX85" fmla="*/ 1255411 w 1505727"/>
              <a:gd name="connsiteY85" fmla="*/ 696912 h 1214437"/>
              <a:gd name="connsiteX86" fmla="*/ 1188529 w 1505727"/>
              <a:gd name="connsiteY86" fmla="*/ 696912 h 1214437"/>
              <a:gd name="connsiteX87" fmla="*/ 1181488 w 1505727"/>
              <a:gd name="connsiteY87" fmla="*/ 689734 h 1214437"/>
              <a:gd name="connsiteX88" fmla="*/ 1181488 w 1505727"/>
              <a:gd name="connsiteY88" fmla="*/ 621540 h 1214437"/>
              <a:gd name="connsiteX89" fmla="*/ 1188529 w 1505727"/>
              <a:gd name="connsiteY89" fmla="*/ 614362 h 1214437"/>
              <a:gd name="connsiteX90" fmla="*/ 248866 w 1505727"/>
              <a:gd name="connsiteY90" fmla="*/ 614362 h 1214437"/>
              <a:gd name="connsiteX91" fmla="*/ 317059 w 1505727"/>
              <a:gd name="connsiteY91" fmla="*/ 614362 h 1214437"/>
              <a:gd name="connsiteX92" fmla="*/ 324238 w 1505727"/>
              <a:gd name="connsiteY92" fmla="*/ 621540 h 1214437"/>
              <a:gd name="connsiteX93" fmla="*/ 324238 w 1505727"/>
              <a:gd name="connsiteY93" fmla="*/ 689734 h 1214437"/>
              <a:gd name="connsiteX94" fmla="*/ 317059 w 1505727"/>
              <a:gd name="connsiteY94" fmla="*/ 696912 h 1214437"/>
              <a:gd name="connsiteX95" fmla="*/ 248866 w 1505727"/>
              <a:gd name="connsiteY95" fmla="*/ 696912 h 1214437"/>
              <a:gd name="connsiteX96" fmla="*/ 241688 w 1505727"/>
              <a:gd name="connsiteY96" fmla="*/ 689734 h 1214437"/>
              <a:gd name="connsiteX97" fmla="*/ 241688 w 1505727"/>
              <a:gd name="connsiteY97" fmla="*/ 621540 h 1214437"/>
              <a:gd name="connsiteX98" fmla="*/ 248866 w 1505727"/>
              <a:gd name="connsiteY98" fmla="*/ 614362 h 1214437"/>
              <a:gd name="connsiteX99" fmla="*/ 131253 w 1505727"/>
              <a:gd name="connsiteY99" fmla="*/ 614362 h 1214437"/>
              <a:gd name="connsiteX100" fmla="*/ 198135 w 1505727"/>
              <a:gd name="connsiteY100" fmla="*/ 614362 h 1214437"/>
              <a:gd name="connsiteX101" fmla="*/ 205176 w 1505727"/>
              <a:gd name="connsiteY101" fmla="*/ 621540 h 1214437"/>
              <a:gd name="connsiteX102" fmla="*/ 205176 w 1505727"/>
              <a:gd name="connsiteY102" fmla="*/ 689734 h 1214437"/>
              <a:gd name="connsiteX103" fmla="*/ 198135 w 1505727"/>
              <a:gd name="connsiteY103" fmla="*/ 696912 h 1214437"/>
              <a:gd name="connsiteX104" fmla="*/ 131253 w 1505727"/>
              <a:gd name="connsiteY104" fmla="*/ 696912 h 1214437"/>
              <a:gd name="connsiteX105" fmla="*/ 124213 w 1505727"/>
              <a:gd name="connsiteY105" fmla="*/ 689734 h 1214437"/>
              <a:gd name="connsiteX106" fmla="*/ 124213 w 1505727"/>
              <a:gd name="connsiteY106" fmla="*/ 621540 h 1214437"/>
              <a:gd name="connsiteX107" fmla="*/ 131253 w 1505727"/>
              <a:gd name="connsiteY107" fmla="*/ 614362 h 1214437"/>
              <a:gd name="connsiteX108" fmla="*/ 1434315 w 1505727"/>
              <a:gd name="connsiteY108" fmla="*/ 561975 h 1214437"/>
              <a:gd name="connsiteX109" fmla="*/ 1465651 w 1505727"/>
              <a:gd name="connsiteY109" fmla="*/ 561975 h 1214437"/>
              <a:gd name="connsiteX110" fmla="*/ 1465651 w 1505727"/>
              <a:gd name="connsiteY110" fmla="*/ 951081 h 1214437"/>
              <a:gd name="connsiteX111" fmla="*/ 1449983 w 1505727"/>
              <a:gd name="connsiteY111" fmla="*/ 966788 h 1214437"/>
              <a:gd name="connsiteX112" fmla="*/ 1181488 w 1505727"/>
              <a:gd name="connsiteY112" fmla="*/ 966788 h 1214437"/>
              <a:gd name="connsiteX113" fmla="*/ 1181488 w 1505727"/>
              <a:gd name="connsiteY113" fmla="*/ 935374 h 1214437"/>
              <a:gd name="connsiteX114" fmla="*/ 1434315 w 1505727"/>
              <a:gd name="connsiteY114" fmla="*/ 935374 h 1214437"/>
              <a:gd name="connsiteX115" fmla="*/ 1434315 w 1505727"/>
              <a:gd name="connsiteY115" fmla="*/ 561975 h 1214437"/>
              <a:gd name="connsiteX116" fmla="*/ 40076 w 1505727"/>
              <a:gd name="connsiteY116" fmla="*/ 561975 h 1214437"/>
              <a:gd name="connsiteX117" fmla="*/ 71491 w 1505727"/>
              <a:gd name="connsiteY117" fmla="*/ 561975 h 1214437"/>
              <a:gd name="connsiteX118" fmla="*/ 71491 w 1505727"/>
              <a:gd name="connsiteY118" fmla="*/ 935374 h 1214437"/>
              <a:gd name="connsiteX119" fmla="*/ 324239 w 1505727"/>
              <a:gd name="connsiteY119" fmla="*/ 935374 h 1214437"/>
              <a:gd name="connsiteX120" fmla="*/ 324239 w 1505727"/>
              <a:gd name="connsiteY120" fmla="*/ 966788 h 1214437"/>
              <a:gd name="connsiteX121" fmla="*/ 55783 w 1505727"/>
              <a:gd name="connsiteY121" fmla="*/ 966788 h 1214437"/>
              <a:gd name="connsiteX122" fmla="*/ 40076 w 1505727"/>
              <a:gd name="connsiteY122" fmla="*/ 951081 h 1214437"/>
              <a:gd name="connsiteX123" fmla="*/ 40076 w 1505727"/>
              <a:gd name="connsiteY123" fmla="*/ 561975 h 1214437"/>
              <a:gd name="connsiteX124" fmla="*/ 750274 w 1505727"/>
              <a:gd name="connsiteY124" fmla="*/ 474662 h 1214437"/>
              <a:gd name="connsiteX125" fmla="*/ 741751 w 1505727"/>
              <a:gd name="connsiteY125" fmla="*/ 483301 h 1214437"/>
              <a:gd name="connsiteX126" fmla="*/ 741751 w 1505727"/>
              <a:gd name="connsiteY126" fmla="*/ 527936 h 1214437"/>
              <a:gd name="connsiteX127" fmla="*/ 750274 w 1505727"/>
              <a:gd name="connsiteY127" fmla="*/ 536575 h 1214437"/>
              <a:gd name="connsiteX128" fmla="*/ 787204 w 1505727"/>
              <a:gd name="connsiteY128" fmla="*/ 536575 h 1214437"/>
              <a:gd name="connsiteX129" fmla="*/ 795726 w 1505727"/>
              <a:gd name="connsiteY129" fmla="*/ 527936 h 1214437"/>
              <a:gd name="connsiteX130" fmla="*/ 787204 w 1505727"/>
              <a:gd name="connsiteY130" fmla="*/ 519297 h 1214437"/>
              <a:gd name="connsiteX131" fmla="*/ 758796 w 1505727"/>
              <a:gd name="connsiteY131" fmla="*/ 519297 h 1214437"/>
              <a:gd name="connsiteX132" fmla="*/ 758796 w 1505727"/>
              <a:gd name="connsiteY132" fmla="*/ 483301 h 1214437"/>
              <a:gd name="connsiteX133" fmla="*/ 750274 w 1505727"/>
              <a:gd name="connsiteY133" fmla="*/ 474662 h 1214437"/>
              <a:gd name="connsiteX134" fmla="*/ 752863 w 1505727"/>
              <a:gd name="connsiteY134" fmla="*/ 455612 h 1214437"/>
              <a:gd name="connsiteX135" fmla="*/ 822713 w 1505727"/>
              <a:gd name="connsiteY135" fmla="*/ 525462 h 1214437"/>
              <a:gd name="connsiteX136" fmla="*/ 752863 w 1505727"/>
              <a:gd name="connsiteY136" fmla="*/ 595312 h 1214437"/>
              <a:gd name="connsiteX137" fmla="*/ 683013 w 1505727"/>
              <a:gd name="connsiteY137" fmla="*/ 525462 h 1214437"/>
              <a:gd name="connsiteX138" fmla="*/ 752863 w 1505727"/>
              <a:gd name="connsiteY138" fmla="*/ 455612 h 1214437"/>
              <a:gd name="connsiteX139" fmla="*/ 935426 w 1505727"/>
              <a:gd name="connsiteY139" fmla="*/ 344487 h 1214437"/>
              <a:gd name="connsiteX140" fmla="*/ 1273900 w 1505727"/>
              <a:gd name="connsiteY140" fmla="*/ 344487 h 1214437"/>
              <a:gd name="connsiteX141" fmla="*/ 1498836 w 1505727"/>
              <a:gd name="connsiteY141" fmla="*/ 507798 h 1214437"/>
              <a:gd name="connsiteX142" fmla="*/ 1490267 w 1505727"/>
              <a:gd name="connsiteY142" fmla="*/ 536575 h 1214437"/>
              <a:gd name="connsiteX143" fmla="*/ 1178928 w 1505727"/>
              <a:gd name="connsiteY143" fmla="*/ 536575 h 1214437"/>
              <a:gd name="connsiteX144" fmla="*/ 1174643 w 1505727"/>
              <a:gd name="connsiteY144" fmla="*/ 532259 h 1214437"/>
              <a:gd name="connsiteX145" fmla="*/ 935426 w 1505727"/>
              <a:gd name="connsiteY145" fmla="*/ 344487 h 1214437"/>
              <a:gd name="connsiteX146" fmla="*/ 231112 w 1505727"/>
              <a:gd name="connsiteY146" fmla="*/ 344487 h 1214437"/>
              <a:gd name="connsiteX147" fmla="*/ 570301 w 1505727"/>
              <a:gd name="connsiteY147" fmla="*/ 344487 h 1214437"/>
              <a:gd name="connsiteX148" fmla="*/ 330370 w 1505727"/>
              <a:gd name="connsiteY148" fmla="*/ 532259 h 1214437"/>
              <a:gd name="connsiteX149" fmla="*/ 326085 w 1505727"/>
              <a:gd name="connsiteY149" fmla="*/ 536575 h 1214437"/>
              <a:gd name="connsiteX150" fmla="*/ 15460 w 1505727"/>
              <a:gd name="connsiteY150" fmla="*/ 536575 h 1214437"/>
              <a:gd name="connsiteX151" fmla="*/ 6891 w 1505727"/>
              <a:gd name="connsiteY151" fmla="*/ 507798 h 1214437"/>
              <a:gd name="connsiteX152" fmla="*/ 231112 w 1505727"/>
              <a:gd name="connsiteY152" fmla="*/ 344487 h 1214437"/>
              <a:gd name="connsiteX153" fmla="*/ 743933 w 1505727"/>
              <a:gd name="connsiteY153" fmla="*/ 250347 h 1214437"/>
              <a:gd name="connsiteX154" fmla="*/ 762508 w 1505727"/>
              <a:gd name="connsiteY154" fmla="*/ 250347 h 1214437"/>
              <a:gd name="connsiteX155" fmla="*/ 1143308 w 1505727"/>
              <a:gd name="connsiteY155" fmla="*/ 547411 h 1214437"/>
              <a:gd name="connsiteX156" fmla="*/ 1149738 w 1505727"/>
              <a:gd name="connsiteY156" fmla="*/ 559550 h 1214437"/>
              <a:gd name="connsiteX157" fmla="*/ 1149738 w 1505727"/>
              <a:gd name="connsiteY157" fmla="*/ 1057275 h 1214437"/>
              <a:gd name="connsiteX158" fmla="*/ 1118303 w 1505727"/>
              <a:gd name="connsiteY158" fmla="*/ 1057275 h 1214437"/>
              <a:gd name="connsiteX159" fmla="*/ 1118303 w 1505727"/>
              <a:gd name="connsiteY159" fmla="*/ 567405 h 1214437"/>
              <a:gd name="connsiteX160" fmla="*/ 753220 w 1505727"/>
              <a:gd name="connsiteY160" fmla="*/ 282481 h 1214437"/>
              <a:gd name="connsiteX161" fmla="*/ 387423 w 1505727"/>
              <a:gd name="connsiteY161" fmla="*/ 567405 h 1214437"/>
              <a:gd name="connsiteX162" fmla="*/ 387423 w 1505727"/>
              <a:gd name="connsiteY162" fmla="*/ 1057275 h 1214437"/>
              <a:gd name="connsiteX163" fmla="*/ 355988 w 1505727"/>
              <a:gd name="connsiteY163" fmla="*/ 1057275 h 1214437"/>
              <a:gd name="connsiteX164" fmla="*/ 355988 w 1505727"/>
              <a:gd name="connsiteY164" fmla="*/ 559550 h 1214437"/>
              <a:gd name="connsiteX165" fmla="*/ 362418 w 1505727"/>
              <a:gd name="connsiteY165" fmla="*/ 547411 h 1214437"/>
              <a:gd name="connsiteX166" fmla="*/ 743933 w 1505727"/>
              <a:gd name="connsiteY166" fmla="*/ 250347 h 1214437"/>
              <a:gd name="connsiteX167" fmla="*/ 738988 w 1505727"/>
              <a:gd name="connsiteY167" fmla="*/ 0 h 1214437"/>
              <a:gd name="connsiteX168" fmla="*/ 762664 w 1505727"/>
              <a:gd name="connsiteY168" fmla="*/ 0 h 1214437"/>
              <a:gd name="connsiteX169" fmla="*/ 953500 w 1505727"/>
              <a:gd name="connsiteY169" fmla="*/ 0 h 1214437"/>
              <a:gd name="connsiteX170" fmla="*/ 956370 w 1505727"/>
              <a:gd name="connsiteY170" fmla="*/ 7131 h 1214437"/>
              <a:gd name="connsiteX171" fmla="*/ 907584 w 1505727"/>
              <a:gd name="connsiteY171" fmla="*/ 55620 h 1214437"/>
              <a:gd name="connsiteX172" fmla="*/ 907584 w 1505727"/>
              <a:gd name="connsiteY172" fmla="*/ 61325 h 1214437"/>
              <a:gd name="connsiteX173" fmla="*/ 956370 w 1505727"/>
              <a:gd name="connsiteY173" fmla="*/ 109814 h 1214437"/>
              <a:gd name="connsiteX174" fmla="*/ 953500 w 1505727"/>
              <a:gd name="connsiteY174" fmla="*/ 116944 h 1214437"/>
              <a:gd name="connsiteX175" fmla="*/ 770555 w 1505727"/>
              <a:gd name="connsiteY175" fmla="*/ 116944 h 1214437"/>
              <a:gd name="connsiteX176" fmla="*/ 766968 w 1505727"/>
              <a:gd name="connsiteY176" fmla="*/ 120510 h 1214437"/>
              <a:gd name="connsiteX177" fmla="*/ 766968 w 1505727"/>
              <a:gd name="connsiteY177" fmla="*/ 214636 h 1214437"/>
              <a:gd name="connsiteX178" fmla="*/ 761946 w 1505727"/>
              <a:gd name="connsiteY178" fmla="*/ 211070 h 1214437"/>
              <a:gd name="connsiteX179" fmla="*/ 743293 w 1505727"/>
              <a:gd name="connsiteY179" fmla="*/ 211070 h 1214437"/>
              <a:gd name="connsiteX180" fmla="*/ 735401 w 1505727"/>
              <a:gd name="connsiteY180" fmla="*/ 217488 h 1214437"/>
              <a:gd name="connsiteX181" fmla="*/ 735401 w 1505727"/>
              <a:gd name="connsiteY181" fmla="*/ 116944 h 1214437"/>
              <a:gd name="connsiteX182" fmla="*/ 735401 w 1505727"/>
              <a:gd name="connsiteY182" fmla="*/ 4279 h 1214437"/>
              <a:gd name="connsiteX183" fmla="*/ 738988 w 1505727"/>
              <a:gd name="connsiteY183" fmla="*/ 0 h 1214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1505727" h="1214437">
                <a:moveTo>
                  <a:pt x="350794" y="1090612"/>
                </a:moveTo>
                <a:cubicBezTo>
                  <a:pt x="1154933" y="1090612"/>
                  <a:pt x="1154933" y="1090612"/>
                  <a:pt x="1154933" y="1090612"/>
                </a:cubicBezTo>
                <a:cubicBezTo>
                  <a:pt x="1162796" y="1090612"/>
                  <a:pt x="1169944" y="1097017"/>
                  <a:pt x="1169944" y="1105557"/>
                </a:cubicBezTo>
                <a:cubicBezTo>
                  <a:pt x="1169944" y="1126194"/>
                  <a:pt x="1169944" y="1126194"/>
                  <a:pt x="1169944" y="1126194"/>
                </a:cubicBezTo>
                <a:cubicBezTo>
                  <a:pt x="1214976" y="1126194"/>
                  <a:pt x="1214976" y="1126194"/>
                  <a:pt x="1214976" y="1126194"/>
                </a:cubicBezTo>
                <a:cubicBezTo>
                  <a:pt x="1223553" y="1126194"/>
                  <a:pt x="1230701" y="1133310"/>
                  <a:pt x="1230701" y="1141850"/>
                </a:cubicBezTo>
                <a:cubicBezTo>
                  <a:pt x="1230701" y="1199493"/>
                  <a:pt x="1230701" y="1199493"/>
                  <a:pt x="1230701" y="1199493"/>
                </a:cubicBezTo>
                <a:cubicBezTo>
                  <a:pt x="1230701" y="1208032"/>
                  <a:pt x="1223553" y="1214437"/>
                  <a:pt x="1214976" y="1214437"/>
                </a:cubicBezTo>
                <a:cubicBezTo>
                  <a:pt x="290751" y="1214437"/>
                  <a:pt x="290751" y="1214437"/>
                  <a:pt x="290751" y="1214437"/>
                </a:cubicBezTo>
                <a:cubicBezTo>
                  <a:pt x="282174" y="1214437"/>
                  <a:pt x="275026" y="1208032"/>
                  <a:pt x="275026" y="1199493"/>
                </a:cubicBezTo>
                <a:cubicBezTo>
                  <a:pt x="275026" y="1141850"/>
                  <a:pt x="275026" y="1141850"/>
                  <a:pt x="275026" y="1141850"/>
                </a:cubicBezTo>
                <a:cubicBezTo>
                  <a:pt x="275026" y="1133310"/>
                  <a:pt x="282174" y="1126194"/>
                  <a:pt x="290751" y="1126194"/>
                </a:cubicBezTo>
                <a:cubicBezTo>
                  <a:pt x="335783" y="1126194"/>
                  <a:pt x="335783" y="1126194"/>
                  <a:pt x="335783" y="1126194"/>
                </a:cubicBezTo>
                <a:cubicBezTo>
                  <a:pt x="335783" y="1105557"/>
                  <a:pt x="335783" y="1105557"/>
                  <a:pt x="335783" y="1105557"/>
                </a:cubicBezTo>
                <a:cubicBezTo>
                  <a:pt x="335783" y="1097017"/>
                  <a:pt x="342931" y="1090612"/>
                  <a:pt x="350794" y="1090612"/>
                </a:cubicBezTo>
                <a:close/>
                <a:moveTo>
                  <a:pt x="674282" y="736600"/>
                </a:moveTo>
                <a:cubicBezTo>
                  <a:pt x="831444" y="736600"/>
                  <a:pt x="831444" y="736600"/>
                  <a:pt x="831444" y="736600"/>
                </a:cubicBezTo>
                <a:cubicBezTo>
                  <a:pt x="835731" y="736600"/>
                  <a:pt x="838588" y="739449"/>
                  <a:pt x="838588" y="743723"/>
                </a:cubicBezTo>
                <a:cubicBezTo>
                  <a:pt x="838588" y="1048566"/>
                  <a:pt x="838588" y="1048566"/>
                  <a:pt x="838588" y="1048566"/>
                </a:cubicBezTo>
                <a:cubicBezTo>
                  <a:pt x="838588" y="1052839"/>
                  <a:pt x="835731" y="1055688"/>
                  <a:pt x="831444" y="1055688"/>
                </a:cubicBezTo>
                <a:cubicBezTo>
                  <a:pt x="674282" y="1055688"/>
                  <a:pt x="674282" y="1055688"/>
                  <a:pt x="674282" y="1055688"/>
                </a:cubicBezTo>
                <a:cubicBezTo>
                  <a:pt x="669995" y="1055688"/>
                  <a:pt x="667138" y="1052839"/>
                  <a:pt x="667138" y="1048566"/>
                </a:cubicBezTo>
                <a:cubicBezTo>
                  <a:pt x="667138" y="743723"/>
                  <a:pt x="667138" y="743723"/>
                  <a:pt x="667138" y="743723"/>
                </a:cubicBezTo>
                <a:cubicBezTo>
                  <a:pt x="667138" y="739449"/>
                  <a:pt x="669995" y="736600"/>
                  <a:pt x="674282" y="736600"/>
                </a:cubicBezTo>
                <a:close/>
                <a:moveTo>
                  <a:pt x="1306142" y="730250"/>
                </a:moveTo>
                <a:cubicBezTo>
                  <a:pt x="1306142" y="730250"/>
                  <a:pt x="1306142" y="730250"/>
                  <a:pt x="1374335" y="730250"/>
                </a:cubicBezTo>
                <a:cubicBezTo>
                  <a:pt x="1378642" y="730250"/>
                  <a:pt x="1381513" y="733121"/>
                  <a:pt x="1381513" y="737428"/>
                </a:cubicBezTo>
                <a:cubicBezTo>
                  <a:pt x="1381513" y="737428"/>
                  <a:pt x="1381513" y="737428"/>
                  <a:pt x="1381513" y="805622"/>
                </a:cubicBezTo>
                <a:cubicBezTo>
                  <a:pt x="1381513" y="809929"/>
                  <a:pt x="1378642" y="812800"/>
                  <a:pt x="1374335" y="812800"/>
                </a:cubicBezTo>
                <a:cubicBezTo>
                  <a:pt x="1374335" y="812800"/>
                  <a:pt x="1374335" y="812800"/>
                  <a:pt x="1306142" y="812800"/>
                </a:cubicBezTo>
                <a:cubicBezTo>
                  <a:pt x="1302552" y="812800"/>
                  <a:pt x="1298963" y="809929"/>
                  <a:pt x="1298963" y="805622"/>
                </a:cubicBezTo>
                <a:cubicBezTo>
                  <a:pt x="1298963" y="805622"/>
                  <a:pt x="1298963" y="805622"/>
                  <a:pt x="1298963" y="737428"/>
                </a:cubicBezTo>
                <a:cubicBezTo>
                  <a:pt x="1298963" y="733121"/>
                  <a:pt x="1302552" y="730250"/>
                  <a:pt x="1306142" y="730250"/>
                </a:cubicBezTo>
                <a:close/>
                <a:moveTo>
                  <a:pt x="1188529" y="730250"/>
                </a:moveTo>
                <a:cubicBezTo>
                  <a:pt x="1188529" y="730250"/>
                  <a:pt x="1188529" y="730250"/>
                  <a:pt x="1255411" y="730250"/>
                </a:cubicBezTo>
                <a:cubicBezTo>
                  <a:pt x="1259635" y="730250"/>
                  <a:pt x="1262451" y="733121"/>
                  <a:pt x="1262451" y="737428"/>
                </a:cubicBezTo>
                <a:cubicBezTo>
                  <a:pt x="1262451" y="737428"/>
                  <a:pt x="1262451" y="737428"/>
                  <a:pt x="1262451" y="805622"/>
                </a:cubicBezTo>
                <a:cubicBezTo>
                  <a:pt x="1262451" y="809929"/>
                  <a:pt x="1259635" y="812800"/>
                  <a:pt x="1255411" y="812800"/>
                </a:cubicBezTo>
                <a:cubicBezTo>
                  <a:pt x="1255411" y="812800"/>
                  <a:pt x="1255411" y="812800"/>
                  <a:pt x="1188529" y="812800"/>
                </a:cubicBezTo>
                <a:cubicBezTo>
                  <a:pt x="1184304" y="812800"/>
                  <a:pt x="1181488" y="809929"/>
                  <a:pt x="1181488" y="805622"/>
                </a:cubicBezTo>
                <a:cubicBezTo>
                  <a:pt x="1181488" y="805622"/>
                  <a:pt x="1181488" y="805622"/>
                  <a:pt x="1181488" y="737428"/>
                </a:cubicBezTo>
                <a:cubicBezTo>
                  <a:pt x="1181488" y="733121"/>
                  <a:pt x="1184304" y="730250"/>
                  <a:pt x="1188529" y="730250"/>
                </a:cubicBezTo>
                <a:close/>
                <a:moveTo>
                  <a:pt x="248866" y="730250"/>
                </a:moveTo>
                <a:cubicBezTo>
                  <a:pt x="248866" y="730250"/>
                  <a:pt x="248866" y="730250"/>
                  <a:pt x="317059" y="730250"/>
                </a:cubicBezTo>
                <a:cubicBezTo>
                  <a:pt x="321366" y="730250"/>
                  <a:pt x="324238" y="733121"/>
                  <a:pt x="324238" y="737428"/>
                </a:cubicBezTo>
                <a:cubicBezTo>
                  <a:pt x="324238" y="737428"/>
                  <a:pt x="324238" y="737428"/>
                  <a:pt x="324238" y="805622"/>
                </a:cubicBezTo>
                <a:cubicBezTo>
                  <a:pt x="324238" y="809929"/>
                  <a:pt x="321366" y="812800"/>
                  <a:pt x="317059" y="812800"/>
                </a:cubicBezTo>
                <a:cubicBezTo>
                  <a:pt x="317059" y="812800"/>
                  <a:pt x="317059" y="812800"/>
                  <a:pt x="248866" y="812800"/>
                </a:cubicBezTo>
                <a:cubicBezTo>
                  <a:pt x="244559" y="812800"/>
                  <a:pt x="241688" y="809929"/>
                  <a:pt x="241688" y="805622"/>
                </a:cubicBezTo>
                <a:cubicBezTo>
                  <a:pt x="241688" y="805622"/>
                  <a:pt x="241688" y="805622"/>
                  <a:pt x="241688" y="737428"/>
                </a:cubicBezTo>
                <a:cubicBezTo>
                  <a:pt x="241688" y="733121"/>
                  <a:pt x="244559" y="730250"/>
                  <a:pt x="248866" y="730250"/>
                </a:cubicBezTo>
                <a:close/>
                <a:moveTo>
                  <a:pt x="131253" y="730250"/>
                </a:moveTo>
                <a:cubicBezTo>
                  <a:pt x="131253" y="730250"/>
                  <a:pt x="131253" y="730250"/>
                  <a:pt x="198135" y="730250"/>
                </a:cubicBezTo>
                <a:cubicBezTo>
                  <a:pt x="201656" y="730250"/>
                  <a:pt x="205176" y="733121"/>
                  <a:pt x="205176" y="737428"/>
                </a:cubicBezTo>
                <a:cubicBezTo>
                  <a:pt x="205176" y="737428"/>
                  <a:pt x="205176" y="737428"/>
                  <a:pt x="205176" y="805622"/>
                </a:cubicBezTo>
                <a:cubicBezTo>
                  <a:pt x="205176" y="809929"/>
                  <a:pt x="201656" y="812800"/>
                  <a:pt x="198135" y="812800"/>
                </a:cubicBezTo>
                <a:cubicBezTo>
                  <a:pt x="198135" y="812800"/>
                  <a:pt x="198135" y="812800"/>
                  <a:pt x="131253" y="812800"/>
                </a:cubicBezTo>
                <a:cubicBezTo>
                  <a:pt x="127029" y="812800"/>
                  <a:pt x="124213" y="809929"/>
                  <a:pt x="124213" y="805622"/>
                </a:cubicBezTo>
                <a:cubicBezTo>
                  <a:pt x="124213" y="805622"/>
                  <a:pt x="124213" y="805622"/>
                  <a:pt x="124213" y="737428"/>
                </a:cubicBezTo>
                <a:cubicBezTo>
                  <a:pt x="124213" y="733121"/>
                  <a:pt x="127029" y="730250"/>
                  <a:pt x="131253" y="730250"/>
                </a:cubicBezTo>
                <a:close/>
                <a:moveTo>
                  <a:pt x="983051" y="638175"/>
                </a:moveTo>
                <a:cubicBezTo>
                  <a:pt x="1019615" y="638175"/>
                  <a:pt x="1049726" y="667369"/>
                  <a:pt x="1049726" y="703683"/>
                </a:cubicBezTo>
                <a:cubicBezTo>
                  <a:pt x="1049726" y="703683"/>
                  <a:pt x="1049726" y="703683"/>
                  <a:pt x="1049726" y="928688"/>
                </a:cubicBezTo>
                <a:cubicBezTo>
                  <a:pt x="1049726" y="928688"/>
                  <a:pt x="1049726" y="928688"/>
                  <a:pt x="916376" y="928688"/>
                </a:cubicBezTo>
                <a:cubicBezTo>
                  <a:pt x="916376" y="928688"/>
                  <a:pt x="916376" y="928688"/>
                  <a:pt x="916376" y="703683"/>
                </a:cubicBezTo>
                <a:cubicBezTo>
                  <a:pt x="916376" y="667369"/>
                  <a:pt x="946488" y="638175"/>
                  <a:pt x="983051" y="638175"/>
                </a:cubicBezTo>
                <a:close/>
                <a:moveTo>
                  <a:pt x="522676" y="638175"/>
                </a:moveTo>
                <a:cubicBezTo>
                  <a:pt x="559239" y="638175"/>
                  <a:pt x="589351" y="667369"/>
                  <a:pt x="589351" y="703683"/>
                </a:cubicBezTo>
                <a:cubicBezTo>
                  <a:pt x="589351" y="703683"/>
                  <a:pt x="589351" y="703683"/>
                  <a:pt x="589351" y="928688"/>
                </a:cubicBezTo>
                <a:cubicBezTo>
                  <a:pt x="589351" y="928688"/>
                  <a:pt x="589351" y="928688"/>
                  <a:pt x="456001" y="928688"/>
                </a:cubicBezTo>
                <a:cubicBezTo>
                  <a:pt x="456001" y="928688"/>
                  <a:pt x="456001" y="928688"/>
                  <a:pt x="456001" y="703683"/>
                </a:cubicBezTo>
                <a:cubicBezTo>
                  <a:pt x="456001" y="667369"/>
                  <a:pt x="486112" y="638175"/>
                  <a:pt x="522676" y="638175"/>
                </a:cubicBezTo>
                <a:close/>
                <a:moveTo>
                  <a:pt x="1306142" y="614362"/>
                </a:moveTo>
                <a:cubicBezTo>
                  <a:pt x="1306142" y="614362"/>
                  <a:pt x="1306142" y="614362"/>
                  <a:pt x="1374335" y="614362"/>
                </a:cubicBezTo>
                <a:cubicBezTo>
                  <a:pt x="1378642" y="614362"/>
                  <a:pt x="1381513" y="617233"/>
                  <a:pt x="1381513" y="621540"/>
                </a:cubicBezTo>
                <a:cubicBezTo>
                  <a:pt x="1381513" y="621540"/>
                  <a:pt x="1381513" y="621540"/>
                  <a:pt x="1381513" y="689734"/>
                </a:cubicBezTo>
                <a:cubicBezTo>
                  <a:pt x="1381513" y="694041"/>
                  <a:pt x="1378642" y="696912"/>
                  <a:pt x="1374335" y="696912"/>
                </a:cubicBezTo>
                <a:cubicBezTo>
                  <a:pt x="1374335" y="696912"/>
                  <a:pt x="1374335" y="696912"/>
                  <a:pt x="1306142" y="696912"/>
                </a:cubicBezTo>
                <a:cubicBezTo>
                  <a:pt x="1302552" y="696912"/>
                  <a:pt x="1298963" y="694041"/>
                  <a:pt x="1298963" y="689734"/>
                </a:cubicBezTo>
                <a:cubicBezTo>
                  <a:pt x="1298963" y="689734"/>
                  <a:pt x="1298963" y="689734"/>
                  <a:pt x="1298963" y="621540"/>
                </a:cubicBezTo>
                <a:cubicBezTo>
                  <a:pt x="1298963" y="617233"/>
                  <a:pt x="1302552" y="614362"/>
                  <a:pt x="1306142" y="614362"/>
                </a:cubicBezTo>
                <a:close/>
                <a:moveTo>
                  <a:pt x="1188529" y="614362"/>
                </a:moveTo>
                <a:cubicBezTo>
                  <a:pt x="1188529" y="614362"/>
                  <a:pt x="1188529" y="614362"/>
                  <a:pt x="1255411" y="614362"/>
                </a:cubicBezTo>
                <a:cubicBezTo>
                  <a:pt x="1259635" y="614362"/>
                  <a:pt x="1262451" y="617233"/>
                  <a:pt x="1262451" y="621540"/>
                </a:cubicBezTo>
                <a:cubicBezTo>
                  <a:pt x="1262451" y="621540"/>
                  <a:pt x="1262451" y="621540"/>
                  <a:pt x="1262451" y="689734"/>
                </a:cubicBezTo>
                <a:cubicBezTo>
                  <a:pt x="1262451" y="694041"/>
                  <a:pt x="1259635" y="696912"/>
                  <a:pt x="1255411" y="696912"/>
                </a:cubicBezTo>
                <a:cubicBezTo>
                  <a:pt x="1255411" y="696912"/>
                  <a:pt x="1255411" y="696912"/>
                  <a:pt x="1188529" y="696912"/>
                </a:cubicBezTo>
                <a:cubicBezTo>
                  <a:pt x="1184304" y="696912"/>
                  <a:pt x="1181488" y="694041"/>
                  <a:pt x="1181488" y="689734"/>
                </a:cubicBezTo>
                <a:cubicBezTo>
                  <a:pt x="1181488" y="689734"/>
                  <a:pt x="1181488" y="689734"/>
                  <a:pt x="1181488" y="621540"/>
                </a:cubicBezTo>
                <a:cubicBezTo>
                  <a:pt x="1181488" y="617233"/>
                  <a:pt x="1184304" y="614362"/>
                  <a:pt x="1188529" y="614362"/>
                </a:cubicBezTo>
                <a:close/>
                <a:moveTo>
                  <a:pt x="248866" y="614362"/>
                </a:moveTo>
                <a:cubicBezTo>
                  <a:pt x="248866" y="614362"/>
                  <a:pt x="248866" y="614362"/>
                  <a:pt x="317059" y="614362"/>
                </a:cubicBezTo>
                <a:cubicBezTo>
                  <a:pt x="321366" y="614362"/>
                  <a:pt x="324238" y="617233"/>
                  <a:pt x="324238" y="621540"/>
                </a:cubicBezTo>
                <a:cubicBezTo>
                  <a:pt x="324238" y="621540"/>
                  <a:pt x="324238" y="621540"/>
                  <a:pt x="324238" y="689734"/>
                </a:cubicBezTo>
                <a:cubicBezTo>
                  <a:pt x="324238" y="694041"/>
                  <a:pt x="321366" y="696912"/>
                  <a:pt x="317059" y="696912"/>
                </a:cubicBezTo>
                <a:cubicBezTo>
                  <a:pt x="317059" y="696912"/>
                  <a:pt x="317059" y="696912"/>
                  <a:pt x="248866" y="696912"/>
                </a:cubicBezTo>
                <a:cubicBezTo>
                  <a:pt x="244559" y="696912"/>
                  <a:pt x="241688" y="694041"/>
                  <a:pt x="241688" y="689734"/>
                </a:cubicBezTo>
                <a:cubicBezTo>
                  <a:pt x="241688" y="689734"/>
                  <a:pt x="241688" y="689734"/>
                  <a:pt x="241688" y="621540"/>
                </a:cubicBezTo>
                <a:cubicBezTo>
                  <a:pt x="241688" y="617233"/>
                  <a:pt x="244559" y="614362"/>
                  <a:pt x="248866" y="614362"/>
                </a:cubicBezTo>
                <a:close/>
                <a:moveTo>
                  <a:pt x="131253" y="614362"/>
                </a:moveTo>
                <a:cubicBezTo>
                  <a:pt x="131253" y="614362"/>
                  <a:pt x="131253" y="614362"/>
                  <a:pt x="198135" y="614362"/>
                </a:cubicBezTo>
                <a:cubicBezTo>
                  <a:pt x="201656" y="614362"/>
                  <a:pt x="205176" y="617233"/>
                  <a:pt x="205176" y="621540"/>
                </a:cubicBezTo>
                <a:cubicBezTo>
                  <a:pt x="205176" y="621540"/>
                  <a:pt x="205176" y="621540"/>
                  <a:pt x="205176" y="689734"/>
                </a:cubicBezTo>
                <a:cubicBezTo>
                  <a:pt x="205176" y="694041"/>
                  <a:pt x="201656" y="696912"/>
                  <a:pt x="198135" y="696912"/>
                </a:cubicBezTo>
                <a:cubicBezTo>
                  <a:pt x="198135" y="696912"/>
                  <a:pt x="198135" y="696912"/>
                  <a:pt x="131253" y="696912"/>
                </a:cubicBezTo>
                <a:cubicBezTo>
                  <a:pt x="127029" y="696912"/>
                  <a:pt x="124213" y="694041"/>
                  <a:pt x="124213" y="689734"/>
                </a:cubicBezTo>
                <a:cubicBezTo>
                  <a:pt x="124213" y="689734"/>
                  <a:pt x="124213" y="689734"/>
                  <a:pt x="124213" y="621540"/>
                </a:cubicBezTo>
                <a:cubicBezTo>
                  <a:pt x="124213" y="617233"/>
                  <a:pt x="127029" y="614362"/>
                  <a:pt x="131253" y="614362"/>
                </a:cubicBezTo>
                <a:close/>
                <a:moveTo>
                  <a:pt x="1434315" y="561975"/>
                </a:moveTo>
                <a:cubicBezTo>
                  <a:pt x="1465651" y="561975"/>
                  <a:pt x="1465651" y="561975"/>
                  <a:pt x="1465651" y="561975"/>
                </a:cubicBezTo>
                <a:cubicBezTo>
                  <a:pt x="1465651" y="951081"/>
                  <a:pt x="1465651" y="951081"/>
                  <a:pt x="1465651" y="951081"/>
                </a:cubicBezTo>
                <a:cubicBezTo>
                  <a:pt x="1465651" y="959649"/>
                  <a:pt x="1459242" y="966788"/>
                  <a:pt x="1449983" y="966788"/>
                </a:cubicBezTo>
                <a:cubicBezTo>
                  <a:pt x="1181488" y="966788"/>
                  <a:pt x="1181488" y="966788"/>
                  <a:pt x="1181488" y="966788"/>
                </a:cubicBezTo>
                <a:cubicBezTo>
                  <a:pt x="1181488" y="935374"/>
                  <a:pt x="1181488" y="935374"/>
                  <a:pt x="1181488" y="935374"/>
                </a:cubicBezTo>
                <a:cubicBezTo>
                  <a:pt x="1434315" y="935374"/>
                  <a:pt x="1434315" y="935374"/>
                  <a:pt x="1434315" y="935374"/>
                </a:cubicBezTo>
                <a:cubicBezTo>
                  <a:pt x="1434315" y="561975"/>
                  <a:pt x="1434315" y="561975"/>
                  <a:pt x="1434315" y="561975"/>
                </a:cubicBezTo>
                <a:close/>
                <a:moveTo>
                  <a:pt x="40076" y="561975"/>
                </a:moveTo>
                <a:cubicBezTo>
                  <a:pt x="40076" y="561975"/>
                  <a:pt x="40076" y="561975"/>
                  <a:pt x="71491" y="561975"/>
                </a:cubicBezTo>
                <a:cubicBezTo>
                  <a:pt x="71491" y="561975"/>
                  <a:pt x="71491" y="561975"/>
                  <a:pt x="71491" y="935374"/>
                </a:cubicBezTo>
                <a:cubicBezTo>
                  <a:pt x="71491" y="935374"/>
                  <a:pt x="71491" y="935374"/>
                  <a:pt x="324239" y="935374"/>
                </a:cubicBezTo>
                <a:cubicBezTo>
                  <a:pt x="324239" y="935374"/>
                  <a:pt x="324239" y="935374"/>
                  <a:pt x="324239" y="966788"/>
                </a:cubicBezTo>
                <a:cubicBezTo>
                  <a:pt x="324239" y="966788"/>
                  <a:pt x="324239" y="966788"/>
                  <a:pt x="55783" y="966788"/>
                </a:cubicBezTo>
                <a:cubicBezTo>
                  <a:pt x="46502" y="966788"/>
                  <a:pt x="40076" y="959649"/>
                  <a:pt x="40076" y="951081"/>
                </a:cubicBezTo>
                <a:cubicBezTo>
                  <a:pt x="40076" y="951081"/>
                  <a:pt x="40076" y="951081"/>
                  <a:pt x="40076" y="561975"/>
                </a:cubicBezTo>
                <a:close/>
                <a:moveTo>
                  <a:pt x="750274" y="474662"/>
                </a:moveTo>
                <a:cubicBezTo>
                  <a:pt x="745302" y="474662"/>
                  <a:pt x="741751" y="478982"/>
                  <a:pt x="741751" y="483301"/>
                </a:cubicBezTo>
                <a:cubicBezTo>
                  <a:pt x="741751" y="527936"/>
                  <a:pt x="741751" y="527936"/>
                  <a:pt x="741751" y="527936"/>
                </a:cubicBezTo>
                <a:cubicBezTo>
                  <a:pt x="741751" y="532976"/>
                  <a:pt x="745302" y="536575"/>
                  <a:pt x="750274" y="536575"/>
                </a:cubicBezTo>
                <a:cubicBezTo>
                  <a:pt x="787204" y="536575"/>
                  <a:pt x="787204" y="536575"/>
                  <a:pt x="787204" y="536575"/>
                </a:cubicBezTo>
                <a:cubicBezTo>
                  <a:pt x="791465" y="536575"/>
                  <a:pt x="795726" y="532976"/>
                  <a:pt x="795726" y="527936"/>
                </a:cubicBezTo>
                <a:cubicBezTo>
                  <a:pt x="795726" y="523617"/>
                  <a:pt x="791465" y="519297"/>
                  <a:pt x="787204" y="519297"/>
                </a:cubicBezTo>
                <a:cubicBezTo>
                  <a:pt x="758796" y="519297"/>
                  <a:pt x="758796" y="519297"/>
                  <a:pt x="758796" y="519297"/>
                </a:cubicBezTo>
                <a:cubicBezTo>
                  <a:pt x="758796" y="483301"/>
                  <a:pt x="758796" y="483301"/>
                  <a:pt x="758796" y="483301"/>
                </a:cubicBezTo>
                <a:cubicBezTo>
                  <a:pt x="758796" y="478982"/>
                  <a:pt x="755245" y="474662"/>
                  <a:pt x="750274" y="474662"/>
                </a:cubicBezTo>
                <a:close/>
                <a:moveTo>
                  <a:pt x="752863" y="455612"/>
                </a:moveTo>
                <a:cubicBezTo>
                  <a:pt x="791440" y="455612"/>
                  <a:pt x="822713" y="486885"/>
                  <a:pt x="822713" y="525462"/>
                </a:cubicBezTo>
                <a:cubicBezTo>
                  <a:pt x="822713" y="564039"/>
                  <a:pt x="791440" y="595312"/>
                  <a:pt x="752863" y="595312"/>
                </a:cubicBezTo>
                <a:cubicBezTo>
                  <a:pt x="714286" y="595312"/>
                  <a:pt x="683013" y="564039"/>
                  <a:pt x="683013" y="525462"/>
                </a:cubicBezTo>
                <a:cubicBezTo>
                  <a:pt x="683013" y="486885"/>
                  <a:pt x="714286" y="455612"/>
                  <a:pt x="752863" y="455612"/>
                </a:cubicBezTo>
                <a:close/>
                <a:moveTo>
                  <a:pt x="935426" y="344487"/>
                </a:moveTo>
                <a:cubicBezTo>
                  <a:pt x="935426" y="344487"/>
                  <a:pt x="935426" y="344487"/>
                  <a:pt x="1273900" y="344487"/>
                </a:cubicBezTo>
                <a:cubicBezTo>
                  <a:pt x="1273900" y="344487"/>
                  <a:pt x="1273900" y="344487"/>
                  <a:pt x="1498836" y="507798"/>
                </a:cubicBezTo>
                <a:cubicBezTo>
                  <a:pt x="1511689" y="517151"/>
                  <a:pt x="1505262" y="536575"/>
                  <a:pt x="1490267" y="536575"/>
                </a:cubicBezTo>
                <a:cubicBezTo>
                  <a:pt x="1490267" y="536575"/>
                  <a:pt x="1490267" y="536575"/>
                  <a:pt x="1178928" y="536575"/>
                </a:cubicBezTo>
                <a:cubicBezTo>
                  <a:pt x="1178214" y="535136"/>
                  <a:pt x="1176785" y="532978"/>
                  <a:pt x="1174643" y="532259"/>
                </a:cubicBezTo>
                <a:cubicBezTo>
                  <a:pt x="1174643" y="532259"/>
                  <a:pt x="1174643" y="532259"/>
                  <a:pt x="935426" y="344487"/>
                </a:cubicBezTo>
                <a:close/>
                <a:moveTo>
                  <a:pt x="231112" y="344487"/>
                </a:moveTo>
                <a:cubicBezTo>
                  <a:pt x="231112" y="344487"/>
                  <a:pt x="231112" y="344487"/>
                  <a:pt x="570301" y="344487"/>
                </a:cubicBezTo>
                <a:cubicBezTo>
                  <a:pt x="570301" y="344487"/>
                  <a:pt x="570301" y="344487"/>
                  <a:pt x="330370" y="532259"/>
                </a:cubicBezTo>
                <a:cubicBezTo>
                  <a:pt x="328227" y="532978"/>
                  <a:pt x="326799" y="535136"/>
                  <a:pt x="326085" y="536575"/>
                </a:cubicBezTo>
                <a:cubicBezTo>
                  <a:pt x="326085" y="536575"/>
                  <a:pt x="326085" y="536575"/>
                  <a:pt x="15460" y="536575"/>
                </a:cubicBezTo>
                <a:cubicBezTo>
                  <a:pt x="464" y="536575"/>
                  <a:pt x="-5962" y="517151"/>
                  <a:pt x="6891" y="507798"/>
                </a:cubicBezTo>
                <a:cubicBezTo>
                  <a:pt x="6891" y="507798"/>
                  <a:pt x="6891" y="507798"/>
                  <a:pt x="231112" y="344487"/>
                </a:cubicBezTo>
                <a:close/>
                <a:moveTo>
                  <a:pt x="743933" y="250347"/>
                </a:moveTo>
                <a:cubicBezTo>
                  <a:pt x="748934" y="246062"/>
                  <a:pt x="757507" y="246062"/>
                  <a:pt x="762508" y="250347"/>
                </a:cubicBezTo>
                <a:cubicBezTo>
                  <a:pt x="762508" y="250347"/>
                  <a:pt x="762508" y="250347"/>
                  <a:pt x="1143308" y="547411"/>
                </a:cubicBezTo>
                <a:cubicBezTo>
                  <a:pt x="1147595" y="550267"/>
                  <a:pt x="1149738" y="555266"/>
                  <a:pt x="1149738" y="559550"/>
                </a:cubicBezTo>
                <a:cubicBezTo>
                  <a:pt x="1149738" y="559550"/>
                  <a:pt x="1149738" y="559550"/>
                  <a:pt x="1149738" y="1057275"/>
                </a:cubicBezTo>
                <a:cubicBezTo>
                  <a:pt x="1149738" y="1057275"/>
                  <a:pt x="1149738" y="1057275"/>
                  <a:pt x="1118303" y="1057275"/>
                </a:cubicBezTo>
                <a:cubicBezTo>
                  <a:pt x="1118303" y="1057275"/>
                  <a:pt x="1118303" y="1057275"/>
                  <a:pt x="1118303" y="567405"/>
                </a:cubicBezTo>
                <a:cubicBezTo>
                  <a:pt x="1118303" y="567405"/>
                  <a:pt x="1118303" y="567405"/>
                  <a:pt x="753220" y="282481"/>
                </a:cubicBezTo>
                <a:cubicBezTo>
                  <a:pt x="753220" y="282481"/>
                  <a:pt x="753220" y="282481"/>
                  <a:pt x="387423" y="567405"/>
                </a:cubicBezTo>
                <a:cubicBezTo>
                  <a:pt x="387423" y="567405"/>
                  <a:pt x="387423" y="567405"/>
                  <a:pt x="387423" y="1057275"/>
                </a:cubicBezTo>
                <a:cubicBezTo>
                  <a:pt x="387423" y="1057275"/>
                  <a:pt x="387423" y="1057275"/>
                  <a:pt x="355988" y="1057275"/>
                </a:cubicBezTo>
                <a:cubicBezTo>
                  <a:pt x="355988" y="1057275"/>
                  <a:pt x="355988" y="1057275"/>
                  <a:pt x="355988" y="559550"/>
                </a:cubicBezTo>
                <a:cubicBezTo>
                  <a:pt x="355988" y="555266"/>
                  <a:pt x="358131" y="550267"/>
                  <a:pt x="362418" y="547411"/>
                </a:cubicBezTo>
                <a:cubicBezTo>
                  <a:pt x="362418" y="547411"/>
                  <a:pt x="362418" y="547411"/>
                  <a:pt x="743933" y="250347"/>
                </a:cubicBezTo>
                <a:close/>
                <a:moveTo>
                  <a:pt x="738988" y="0"/>
                </a:moveTo>
                <a:cubicBezTo>
                  <a:pt x="738988" y="0"/>
                  <a:pt x="738988" y="0"/>
                  <a:pt x="762664" y="0"/>
                </a:cubicBezTo>
                <a:cubicBezTo>
                  <a:pt x="762664" y="0"/>
                  <a:pt x="762664" y="0"/>
                  <a:pt x="953500" y="0"/>
                </a:cubicBezTo>
                <a:cubicBezTo>
                  <a:pt x="957087" y="0"/>
                  <a:pt x="959239" y="4279"/>
                  <a:pt x="956370" y="7131"/>
                </a:cubicBezTo>
                <a:cubicBezTo>
                  <a:pt x="956370" y="7131"/>
                  <a:pt x="956370" y="7131"/>
                  <a:pt x="907584" y="55620"/>
                </a:cubicBezTo>
                <a:cubicBezTo>
                  <a:pt x="906149" y="57046"/>
                  <a:pt x="906149" y="59898"/>
                  <a:pt x="907584" y="61325"/>
                </a:cubicBezTo>
                <a:cubicBezTo>
                  <a:pt x="907584" y="61325"/>
                  <a:pt x="907584" y="61325"/>
                  <a:pt x="956370" y="109814"/>
                </a:cubicBezTo>
                <a:cubicBezTo>
                  <a:pt x="959239" y="112666"/>
                  <a:pt x="957087" y="116944"/>
                  <a:pt x="953500" y="116944"/>
                </a:cubicBezTo>
                <a:cubicBezTo>
                  <a:pt x="953500" y="116944"/>
                  <a:pt x="953500" y="116944"/>
                  <a:pt x="770555" y="116944"/>
                </a:cubicBezTo>
                <a:cubicBezTo>
                  <a:pt x="768403" y="116944"/>
                  <a:pt x="766968" y="118371"/>
                  <a:pt x="766968" y="120510"/>
                </a:cubicBezTo>
                <a:cubicBezTo>
                  <a:pt x="766968" y="120510"/>
                  <a:pt x="766968" y="120510"/>
                  <a:pt x="766968" y="214636"/>
                </a:cubicBezTo>
                <a:cubicBezTo>
                  <a:pt x="766968" y="214636"/>
                  <a:pt x="766968" y="214636"/>
                  <a:pt x="761946" y="211070"/>
                </a:cubicBezTo>
                <a:cubicBezTo>
                  <a:pt x="756924" y="206792"/>
                  <a:pt x="748315" y="206792"/>
                  <a:pt x="743293" y="211070"/>
                </a:cubicBezTo>
                <a:cubicBezTo>
                  <a:pt x="743293" y="211070"/>
                  <a:pt x="743293" y="211070"/>
                  <a:pt x="735401" y="217488"/>
                </a:cubicBezTo>
                <a:cubicBezTo>
                  <a:pt x="735401" y="217488"/>
                  <a:pt x="735401" y="217488"/>
                  <a:pt x="735401" y="116944"/>
                </a:cubicBezTo>
                <a:cubicBezTo>
                  <a:pt x="735401" y="116944"/>
                  <a:pt x="735401" y="116944"/>
                  <a:pt x="735401" y="4279"/>
                </a:cubicBezTo>
                <a:cubicBezTo>
                  <a:pt x="735401" y="2139"/>
                  <a:pt x="736836" y="0"/>
                  <a:pt x="73898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950" dirty="0"/>
          </a:p>
        </p:txBody>
      </p:sp>
      <p:sp>
        <p:nvSpPr>
          <p:cNvPr id="314" name="Rectangle 313"/>
          <p:cNvSpPr/>
          <p:nvPr/>
        </p:nvSpPr>
        <p:spPr>
          <a:xfrm>
            <a:off x="531485" y="4142130"/>
            <a:ext cx="433729" cy="242823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pl-PL" sz="1517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388" name="AutoShape 3"/>
          <p:cNvSpPr>
            <a:spLocks noChangeAspect="1" noChangeArrowheads="1" noTextEdit="1"/>
          </p:cNvSpPr>
          <p:nvPr/>
        </p:nvSpPr>
        <p:spPr bwMode="auto">
          <a:xfrm>
            <a:off x="628980" y="4153775"/>
            <a:ext cx="263977" cy="263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8872" tIns="59436" rIns="118872" bIns="59436" numCol="1" anchor="t" anchorCtr="0" compatLnSpc="1">
            <a:prstTxWarp prst="textNoShape">
              <a:avLst/>
            </a:prstTxWarp>
          </a:bodyPr>
          <a:lstStyle/>
          <a:p>
            <a:endParaRPr lang="en-US" sz="1950" dirty="0"/>
          </a:p>
        </p:txBody>
      </p:sp>
      <p:sp>
        <p:nvSpPr>
          <p:cNvPr id="389" name="Freeform 388"/>
          <p:cNvSpPr>
            <a:spLocks/>
          </p:cNvSpPr>
          <p:nvPr/>
        </p:nvSpPr>
        <p:spPr bwMode="auto">
          <a:xfrm>
            <a:off x="640158" y="4181039"/>
            <a:ext cx="209194" cy="209194"/>
          </a:xfrm>
          <a:custGeom>
            <a:avLst/>
            <a:gdLst>
              <a:gd name="connsiteX0" fmla="*/ 650451 w 1303338"/>
              <a:gd name="connsiteY0" fmla="*/ 1149350 h 1303338"/>
              <a:gd name="connsiteX1" fmla="*/ 666750 w 1303338"/>
              <a:gd name="connsiteY1" fmla="*/ 1165107 h 1303338"/>
              <a:gd name="connsiteX2" fmla="*/ 666009 w 1303338"/>
              <a:gd name="connsiteY2" fmla="*/ 1287581 h 1303338"/>
              <a:gd name="connsiteX3" fmla="*/ 649710 w 1303338"/>
              <a:gd name="connsiteY3" fmla="*/ 1303338 h 1303338"/>
              <a:gd name="connsiteX4" fmla="*/ 633412 w 1303338"/>
              <a:gd name="connsiteY4" fmla="*/ 1287581 h 1303338"/>
              <a:gd name="connsiteX5" fmla="*/ 634153 w 1303338"/>
              <a:gd name="connsiteY5" fmla="*/ 1165107 h 1303338"/>
              <a:gd name="connsiteX6" fmla="*/ 650451 w 1303338"/>
              <a:gd name="connsiteY6" fmla="*/ 1149350 h 1303338"/>
              <a:gd name="connsiteX7" fmla="*/ 911429 w 1303338"/>
              <a:gd name="connsiteY7" fmla="*/ 1082351 h 1303338"/>
              <a:gd name="connsiteX8" fmla="*/ 921042 w 1303338"/>
              <a:gd name="connsiteY8" fmla="*/ 1089479 h 1303338"/>
              <a:gd name="connsiteX9" fmla="*/ 981565 w 1303338"/>
              <a:gd name="connsiteY9" fmla="*/ 1195679 h 1303338"/>
              <a:gd name="connsiteX10" fmla="*/ 975869 w 1303338"/>
              <a:gd name="connsiteY10" fmla="*/ 1217062 h 1303338"/>
              <a:gd name="connsiteX11" fmla="*/ 968037 w 1303338"/>
              <a:gd name="connsiteY11" fmla="*/ 1219200 h 1303338"/>
              <a:gd name="connsiteX12" fmla="*/ 954508 w 1303338"/>
              <a:gd name="connsiteY12" fmla="*/ 1211360 h 1303338"/>
              <a:gd name="connsiteX13" fmla="*/ 893272 w 1303338"/>
              <a:gd name="connsiteY13" fmla="*/ 1105159 h 1303338"/>
              <a:gd name="connsiteX14" fmla="*/ 899680 w 1303338"/>
              <a:gd name="connsiteY14" fmla="*/ 1083777 h 1303338"/>
              <a:gd name="connsiteX15" fmla="*/ 911429 w 1303338"/>
              <a:gd name="connsiteY15" fmla="*/ 1082351 h 1303338"/>
              <a:gd name="connsiteX16" fmla="*/ 389179 w 1303338"/>
              <a:gd name="connsiteY16" fmla="*/ 1080778 h 1303338"/>
              <a:gd name="connsiteX17" fmla="*/ 401194 w 1303338"/>
              <a:gd name="connsiteY17" fmla="*/ 1082211 h 1303338"/>
              <a:gd name="connsiteX18" fmla="*/ 406890 w 1303338"/>
              <a:gd name="connsiteY18" fmla="*/ 1103703 h 1303338"/>
              <a:gd name="connsiteX19" fmla="*/ 345655 w 1303338"/>
              <a:gd name="connsiteY19" fmla="*/ 1209732 h 1303338"/>
              <a:gd name="connsiteX20" fmla="*/ 332126 w 1303338"/>
              <a:gd name="connsiteY20" fmla="*/ 1217612 h 1303338"/>
              <a:gd name="connsiteX21" fmla="*/ 324293 w 1303338"/>
              <a:gd name="connsiteY21" fmla="*/ 1215463 h 1303338"/>
              <a:gd name="connsiteX22" fmla="*/ 318597 w 1303338"/>
              <a:gd name="connsiteY22" fmla="*/ 1193971 h 1303338"/>
              <a:gd name="connsiteX23" fmla="*/ 379833 w 1303338"/>
              <a:gd name="connsiteY23" fmla="*/ 1087942 h 1303338"/>
              <a:gd name="connsiteX24" fmla="*/ 389179 w 1303338"/>
              <a:gd name="connsiteY24" fmla="*/ 1080778 h 1303338"/>
              <a:gd name="connsiteX25" fmla="*/ 1091713 w 1303338"/>
              <a:gd name="connsiteY25" fmla="*/ 894992 h 1303338"/>
              <a:gd name="connsiteX26" fmla="*/ 1103890 w 1303338"/>
              <a:gd name="connsiteY26" fmla="*/ 896401 h 1303338"/>
              <a:gd name="connsiteX27" fmla="*/ 1210685 w 1303338"/>
              <a:gd name="connsiteY27" fmla="*/ 956965 h 1303338"/>
              <a:gd name="connsiteX28" fmla="*/ 1216458 w 1303338"/>
              <a:gd name="connsiteY28" fmla="*/ 978092 h 1303338"/>
              <a:gd name="connsiteX29" fmla="*/ 1202747 w 1303338"/>
              <a:gd name="connsiteY29" fmla="*/ 985838 h 1303338"/>
              <a:gd name="connsiteX30" fmla="*/ 1194810 w 1303338"/>
              <a:gd name="connsiteY30" fmla="*/ 983725 h 1303338"/>
              <a:gd name="connsiteX31" fmla="*/ 1088015 w 1303338"/>
              <a:gd name="connsiteY31" fmla="*/ 923161 h 1303338"/>
              <a:gd name="connsiteX32" fmla="*/ 1082242 w 1303338"/>
              <a:gd name="connsiteY32" fmla="*/ 902034 h 1303338"/>
              <a:gd name="connsiteX33" fmla="*/ 1091713 w 1303338"/>
              <a:gd name="connsiteY33" fmla="*/ 894992 h 1303338"/>
              <a:gd name="connsiteX34" fmla="*/ 210191 w 1303338"/>
              <a:gd name="connsiteY34" fmla="*/ 892044 h 1303338"/>
              <a:gd name="connsiteX35" fmla="*/ 219556 w 1303338"/>
              <a:gd name="connsiteY35" fmla="*/ 899743 h 1303338"/>
              <a:gd name="connsiteX36" fmla="*/ 213848 w 1303338"/>
              <a:gd name="connsiteY36" fmla="*/ 921228 h 1303338"/>
              <a:gd name="connsiteX37" fmla="*/ 108238 w 1303338"/>
              <a:gd name="connsiteY37" fmla="*/ 982102 h 1303338"/>
              <a:gd name="connsiteX38" fmla="*/ 100389 w 1303338"/>
              <a:gd name="connsiteY38" fmla="*/ 984250 h 1303338"/>
              <a:gd name="connsiteX39" fmla="*/ 86831 w 1303338"/>
              <a:gd name="connsiteY39" fmla="*/ 975656 h 1303338"/>
              <a:gd name="connsiteX40" fmla="*/ 92540 w 1303338"/>
              <a:gd name="connsiteY40" fmla="*/ 954171 h 1303338"/>
              <a:gd name="connsiteX41" fmla="*/ 198149 w 1303338"/>
              <a:gd name="connsiteY41" fmla="*/ 894013 h 1303338"/>
              <a:gd name="connsiteX42" fmla="*/ 210191 w 1303338"/>
              <a:gd name="connsiteY42" fmla="*/ 892044 h 1303338"/>
              <a:gd name="connsiteX43" fmla="*/ 292118 w 1303338"/>
              <a:gd name="connsiteY43" fmla="*/ 693737 h 1303338"/>
              <a:gd name="connsiteX44" fmla="*/ 711714 w 1303338"/>
              <a:gd name="connsiteY44" fmla="*/ 693737 h 1303338"/>
              <a:gd name="connsiteX45" fmla="*/ 753173 w 1303338"/>
              <a:gd name="connsiteY45" fmla="*/ 718686 h 1303338"/>
              <a:gd name="connsiteX46" fmla="*/ 782480 w 1303338"/>
              <a:gd name="connsiteY46" fmla="*/ 835591 h 1303338"/>
              <a:gd name="connsiteX47" fmla="*/ 792488 w 1303338"/>
              <a:gd name="connsiteY47" fmla="*/ 855551 h 1303338"/>
              <a:gd name="connsiteX48" fmla="*/ 797491 w 1303338"/>
              <a:gd name="connsiteY48" fmla="*/ 856264 h 1303338"/>
              <a:gd name="connsiteX49" fmla="*/ 812502 w 1303338"/>
              <a:gd name="connsiteY49" fmla="*/ 845571 h 1303338"/>
              <a:gd name="connsiteX50" fmla="*/ 774617 w 1303338"/>
              <a:gd name="connsiteY50" fmla="*/ 695876 h 1303338"/>
              <a:gd name="connsiteX51" fmla="*/ 772473 w 1303338"/>
              <a:gd name="connsiteY51" fmla="*/ 693737 h 1303338"/>
              <a:gd name="connsiteX52" fmla="*/ 1006932 w 1303338"/>
              <a:gd name="connsiteY52" fmla="*/ 693737 h 1303338"/>
              <a:gd name="connsiteX53" fmla="*/ 1039813 w 1303338"/>
              <a:gd name="connsiteY53" fmla="*/ 727240 h 1303338"/>
              <a:gd name="connsiteX54" fmla="*/ 996210 w 1303338"/>
              <a:gd name="connsiteY54" fmla="*/ 816345 h 1303338"/>
              <a:gd name="connsiteX55" fmla="*/ 932591 w 1303338"/>
              <a:gd name="connsiteY55" fmla="*/ 859828 h 1303338"/>
              <a:gd name="connsiteX56" fmla="*/ 938310 w 1303338"/>
              <a:gd name="connsiteY56" fmla="*/ 812068 h 1303338"/>
              <a:gd name="connsiteX57" fmla="*/ 922584 w 1303338"/>
              <a:gd name="connsiteY57" fmla="*/ 796385 h 1303338"/>
              <a:gd name="connsiteX58" fmla="*/ 906858 w 1303338"/>
              <a:gd name="connsiteY58" fmla="*/ 812068 h 1303338"/>
              <a:gd name="connsiteX59" fmla="*/ 859680 w 1303338"/>
              <a:gd name="connsiteY59" fmla="*/ 935388 h 1303338"/>
              <a:gd name="connsiteX60" fmla="*/ 838236 w 1303338"/>
              <a:gd name="connsiteY60" fmla="*/ 954635 h 1303338"/>
              <a:gd name="connsiteX61" fmla="*/ 735302 w 1303338"/>
              <a:gd name="connsiteY61" fmla="*/ 987425 h 1303338"/>
              <a:gd name="connsiteX62" fmla="*/ 647380 w 1303338"/>
              <a:gd name="connsiteY62" fmla="*/ 963902 h 1303338"/>
              <a:gd name="connsiteX63" fmla="*/ 639517 w 1303338"/>
              <a:gd name="connsiteY63" fmla="*/ 959625 h 1303338"/>
              <a:gd name="connsiteX64" fmla="*/ 581617 w 1303338"/>
              <a:gd name="connsiteY64" fmla="*/ 886203 h 1303338"/>
              <a:gd name="connsiteX65" fmla="*/ 653814 w 1303338"/>
              <a:gd name="connsiteY65" fmla="*/ 834166 h 1303338"/>
              <a:gd name="connsiteX66" fmla="*/ 649525 w 1303338"/>
              <a:gd name="connsiteY66" fmla="*/ 812781 h 1303338"/>
              <a:gd name="connsiteX67" fmla="*/ 627366 w 1303338"/>
              <a:gd name="connsiteY67" fmla="*/ 817058 h 1303338"/>
              <a:gd name="connsiteX68" fmla="*/ 570180 w 1303338"/>
              <a:gd name="connsiteY68" fmla="*/ 856264 h 1303338"/>
              <a:gd name="connsiteX69" fmla="*/ 501558 w 1303338"/>
              <a:gd name="connsiteY69" fmla="*/ 844145 h 1303338"/>
              <a:gd name="connsiteX70" fmla="*/ 479399 w 1303338"/>
              <a:gd name="connsiteY70" fmla="*/ 848422 h 1303338"/>
              <a:gd name="connsiteX71" fmla="*/ 484403 w 1303338"/>
              <a:gd name="connsiteY71" fmla="*/ 869807 h 1303338"/>
              <a:gd name="connsiteX72" fmla="*/ 549451 w 1303338"/>
              <a:gd name="connsiteY72" fmla="*/ 889767 h 1303338"/>
              <a:gd name="connsiteX73" fmla="*/ 599488 w 1303338"/>
              <a:gd name="connsiteY73" fmla="*/ 966753 h 1303338"/>
              <a:gd name="connsiteX74" fmla="*/ 529436 w 1303338"/>
              <a:gd name="connsiteY74" fmla="*/ 983148 h 1303338"/>
              <a:gd name="connsiteX75" fmla="*/ 432221 w 1303338"/>
              <a:gd name="connsiteY75" fmla="*/ 948932 h 1303338"/>
              <a:gd name="connsiteX76" fmla="*/ 388618 w 1303338"/>
              <a:gd name="connsiteY76" fmla="*/ 885490 h 1303338"/>
              <a:gd name="connsiteX77" fmla="*/ 385758 w 1303338"/>
              <a:gd name="connsiteY77" fmla="*/ 875510 h 1303338"/>
              <a:gd name="connsiteX78" fmla="*/ 381470 w 1303338"/>
              <a:gd name="connsiteY78" fmla="*/ 842720 h 1303338"/>
              <a:gd name="connsiteX79" fmla="*/ 400770 w 1303338"/>
              <a:gd name="connsiteY79" fmla="*/ 770723 h 1303338"/>
              <a:gd name="connsiteX80" fmla="*/ 394336 w 1303338"/>
              <a:gd name="connsiteY80" fmla="*/ 749338 h 1303338"/>
              <a:gd name="connsiteX81" fmla="*/ 372892 w 1303338"/>
              <a:gd name="connsiteY81" fmla="*/ 755041 h 1303338"/>
              <a:gd name="connsiteX82" fmla="*/ 350018 w 1303338"/>
              <a:gd name="connsiteY82" fmla="*/ 842720 h 1303338"/>
              <a:gd name="connsiteX83" fmla="*/ 350733 w 1303338"/>
              <a:gd name="connsiteY83" fmla="*/ 854838 h 1303338"/>
              <a:gd name="connsiteX84" fmla="*/ 263525 w 1303338"/>
              <a:gd name="connsiteY84" fmla="*/ 760031 h 1303338"/>
              <a:gd name="connsiteX85" fmla="*/ 292118 w 1303338"/>
              <a:gd name="connsiteY85" fmla="*/ 693737 h 1303338"/>
              <a:gd name="connsiteX86" fmla="*/ 282187 w 1303338"/>
              <a:gd name="connsiteY86" fmla="*/ 666750 h 1303338"/>
              <a:gd name="connsiteX87" fmla="*/ 277908 w 1303338"/>
              <a:gd name="connsiteY87" fmla="*/ 671027 h 1303338"/>
              <a:gd name="connsiteX88" fmla="*/ 263642 w 1303338"/>
              <a:gd name="connsiteY88" fmla="*/ 685995 h 1303338"/>
              <a:gd name="connsiteX89" fmla="*/ 236537 w 1303338"/>
              <a:gd name="connsiteY89" fmla="*/ 760834 h 1303338"/>
              <a:gd name="connsiteX90" fmla="*/ 349949 w 1303338"/>
              <a:gd name="connsiteY90" fmla="*/ 883428 h 1303338"/>
              <a:gd name="connsiteX91" fmla="*/ 356369 w 1303338"/>
              <a:gd name="connsiteY91" fmla="*/ 886279 h 1303338"/>
              <a:gd name="connsiteX92" fmla="*/ 362789 w 1303338"/>
              <a:gd name="connsiteY92" fmla="*/ 894832 h 1303338"/>
              <a:gd name="connsiteX93" fmla="*/ 414858 w 1303338"/>
              <a:gd name="connsiteY93" fmla="*/ 971097 h 1303338"/>
              <a:gd name="connsiteX94" fmla="*/ 529697 w 1303338"/>
              <a:gd name="connsiteY94" fmla="*/ 1011724 h 1303338"/>
              <a:gd name="connsiteX95" fmla="*/ 541823 w 1303338"/>
              <a:gd name="connsiteY95" fmla="*/ 1011724 h 1303338"/>
              <a:gd name="connsiteX96" fmla="*/ 618144 w 1303338"/>
              <a:gd name="connsiteY96" fmla="*/ 988915 h 1303338"/>
              <a:gd name="connsiteX97" fmla="*/ 623137 w 1303338"/>
              <a:gd name="connsiteY97" fmla="*/ 987490 h 1303338"/>
              <a:gd name="connsiteX98" fmla="*/ 625990 w 1303338"/>
              <a:gd name="connsiteY98" fmla="*/ 987490 h 1303338"/>
              <a:gd name="connsiteX99" fmla="*/ 633837 w 1303338"/>
              <a:gd name="connsiteY99" fmla="*/ 988915 h 1303338"/>
              <a:gd name="connsiteX100" fmla="*/ 735123 w 1303338"/>
              <a:gd name="connsiteY100" fmla="*/ 1016000 h 1303338"/>
              <a:gd name="connsiteX101" fmla="*/ 853528 w 1303338"/>
              <a:gd name="connsiteY101" fmla="*/ 978224 h 1303338"/>
              <a:gd name="connsiteX102" fmla="*/ 917011 w 1303338"/>
              <a:gd name="connsiteY102" fmla="*/ 900534 h 1303338"/>
              <a:gd name="connsiteX103" fmla="*/ 922003 w 1303338"/>
              <a:gd name="connsiteY103" fmla="*/ 894119 h 1303338"/>
              <a:gd name="connsiteX104" fmla="*/ 927710 w 1303338"/>
              <a:gd name="connsiteY104" fmla="*/ 891268 h 1303338"/>
              <a:gd name="connsiteX105" fmla="*/ 1015444 w 1303338"/>
              <a:gd name="connsiteY105" fmla="*/ 836386 h 1303338"/>
              <a:gd name="connsiteX106" fmla="*/ 1066800 w 1303338"/>
              <a:gd name="connsiteY106" fmla="*/ 728047 h 1303338"/>
              <a:gd name="connsiteX107" fmla="*/ 1032563 w 1303338"/>
              <a:gd name="connsiteY107" fmla="*/ 673165 h 1303338"/>
              <a:gd name="connsiteX108" fmla="*/ 1007598 w 1303338"/>
              <a:gd name="connsiteY108" fmla="*/ 666750 h 1303338"/>
              <a:gd name="connsiteX109" fmla="*/ 989766 w 1303338"/>
              <a:gd name="connsiteY109" fmla="*/ 666750 h 1303338"/>
              <a:gd name="connsiteX110" fmla="*/ 726564 w 1303338"/>
              <a:gd name="connsiteY110" fmla="*/ 666750 h 1303338"/>
              <a:gd name="connsiteX111" fmla="*/ 657375 w 1303338"/>
              <a:gd name="connsiteY111" fmla="*/ 666750 h 1303338"/>
              <a:gd name="connsiteX112" fmla="*/ 324271 w 1303338"/>
              <a:gd name="connsiteY112" fmla="*/ 666750 h 1303338"/>
              <a:gd name="connsiteX113" fmla="*/ 282187 w 1303338"/>
              <a:gd name="connsiteY113" fmla="*/ 666750 h 1303338"/>
              <a:gd name="connsiteX114" fmla="*/ 1165107 w 1303338"/>
              <a:gd name="connsiteY114" fmla="*/ 636587 h 1303338"/>
              <a:gd name="connsiteX115" fmla="*/ 1287581 w 1303338"/>
              <a:gd name="connsiteY115" fmla="*/ 636587 h 1303338"/>
              <a:gd name="connsiteX116" fmla="*/ 1303338 w 1303338"/>
              <a:gd name="connsiteY116" fmla="*/ 652462 h 1303338"/>
              <a:gd name="connsiteX117" fmla="*/ 1287581 w 1303338"/>
              <a:gd name="connsiteY117" fmla="*/ 668337 h 1303338"/>
              <a:gd name="connsiteX118" fmla="*/ 1165107 w 1303338"/>
              <a:gd name="connsiteY118" fmla="*/ 668337 h 1303338"/>
              <a:gd name="connsiteX119" fmla="*/ 1149350 w 1303338"/>
              <a:gd name="connsiteY119" fmla="*/ 652462 h 1303338"/>
              <a:gd name="connsiteX120" fmla="*/ 1165107 w 1303338"/>
              <a:gd name="connsiteY120" fmla="*/ 636587 h 1303338"/>
              <a:gd name="connsiteX121" fmla="*/ 15757 w 1303338"/>
              <a:gd name="connsiteY121" fmla="*/ 633412 h 1303338"/>
              <a:gd name="connsiteX122" fmla="*/ 138231 w 1303338"/>
              <a:gd name="connsiteY122" fmla="*/ 634118 h 1303338"/>
              <a:gd name="connsiteX123" fmla="*/ 153988 w 1303338"/>
              <a:gd name="connsiteY123" fmla="*/ 649640 h 1303338"/>
              <a:gd name="connsiteX124" fmla="*/ 138231 w 1303338"/>
              <a:gd name="connsiteY124" fmla="*/ 665162 h 1303338"/>
              <a:gd name="connsiteX125" fmla="*/ 15757 w 1303338"/>
              <a:gd name="connsiteY125" fmla="*/ 664457 h 1303338"/>
              <a:gd name="connsiteX126" fmla="*/ 0 w 1303338"/>
              <a:gd name="connsiteY126" fmla="*/ 648934 h 1303338"/>
              <a:gd name="connsiteX127" fmla="*/ 15757 w 1303338"/>
              <a:gd name="connsiteY127" fmla="*/ 633412 h 1303338"/>
              <a:gd name="connsiteX128" fmla="*/ 1207141 w 1303338"/>
              <a:gd name="connsiteY128" fmla="*/ 318777 h 1303338"/>
              <a:gd name="connsiteX129" fmla="*/ 1216507 w 1303338"/>
              <a:gd name="connsiteY129" fmla="*/ 325938 h 1303338"/>
              <a:gd name="connsiteX130" fmla="*/ 1210798 w 1303338"/>
              <a:gd name="connsiteY130" fmla="*/ 347423 h 1303338"/>
              <a:gd name="connsiteX131" fmla="*/ 1105189 w 1303338"/>
              <a:gd name="connsiteY131" fmla="*/ 409014 h 1303338"/>
              <a:gd name="connsiteX132" fmla="*/ 1097340 w 1303338"/>
              <a:gd name="connsiteY132" fmla="*/ 411162 h 1303338"/>
              <a:gd name="connsiteX133" fmla="*/ 1083782 w 1303338"/>
              <a:gd name="connsiteY133" fmla="*/ 403284 h 1303338"/>
              <a:gd name="connsiteX134" fmla="*/ 1089490 w 1303338"/>
              <a:gd name="connsiteY134" fmla="*/ 381799 h 1303338"/>
              <a:gd name="connsiteX135" fmla="*/ 1195100 w 1303338"/>
              <a:gd name="connsiteY135" fmla="*/ 320209 h 1303338"/>
              <a:gd name="connsiteX136" fmla="*/ 1207141 w 1303338"/>
              <a:gd name="connsiteY136" fmla="*/ 318777 h 1303338"/>
              <a:gd name="connsiteX137" fmla="*/ 98498 w 1303338"/>
              <a:gd name="connsiteY137" fmla="*/ 315333 h 1303338"/>
              <a:gd name="connsiteX138" fmla="*/ 110539 w 1303338"/>
              <a:gd name="connsiteY138" fmla="*/ 317034 h 1303338"/>
              <a:gd name="connsiteX139" fmla="*/ 215435 w 1303338"/>
              <a:gd name="connsiteY139" fmla="*/ 378624 h 1303338"/>
              <a:gd name="connsiteX140" fmla="*/ 221143 w 1303338"/>
              <a:gd name="connsiteY140" fmla="*/ 400109 h 1303338"/>
              <a:gd name="connsiteX141" fmla="*/ 207585 w 1303338"/>
              <a:gd name="connsiteY141" fmla="*/ 407987 h 1303338"/>
              <a:gd name="connsiteX142" fmla="*/ 199736 w 1303338"/>
              <a:gd name="connsiteY142" fmla="*/ 405839 h 1303338"/>
              <a:gd name="connsiteX143" fmla="*/ 94127 w 1303338"/>
              <a:gd name="connsiteY143" fmla="*/ 344248 h 1303338"/>
              <a:gd name="connsiteX144" fmla="*/ 89132 w 1303338"/>
              <a:gd name="connsiteY144" fmla="*/ 322763 h 1303338"/>
              <a:gd name="connsiteX145" fmla="*/ 98498 w 1303338"/>
              <a:gd name="connsiteY145" fmla="*/ 315333 h 1303338"/>
              <a:gd name="connsiteX146" fmla="*/ 735302 w 1303338"/>
              <a:gd name="connsiteY146" fmla="*/ 312737 h 1303338"/>
              <a:gd name="connsiteX147" fmla="*/ 836091 w 1303338"/>
              <a:gd name="connsiteY147" fmla="*/ 344102 h 1303338"/>
              <a:gd name="connsiteX148" fmla="*/ 906858 w 1303338"/>
              <a:gd name="connsiteY148" fmla="*/ 487382 h 1303338"/>
              <a:gd name="connsiteX149" fmla="*/ 922584 w 1303338"/>
              <a:gd name="connsiteY149" fmla="*/ 503064 h 1303338"/>
              <a:gd name="connsiteX150" fmla="*/ 938310 w 1303338"/>
              <a:gd name="connsiteY150" fmla="*/ 487382 h 1303338"/>
              <a:gd name="connsiteX151" fmla="*/ 932591 w 1303338"/>
              <a:gd name="connsiteY151" fmla="*/ 439622 h 1303338"/>
              <a:gd name="connsiteX152" fmla="*/ 1039813 w 1303338"/>
              <a:gd name="connsiteY152" fmla="*/ 570783 h 1303338"/>
              <a:gd name="connsiteX153" fmla="*/ 1004787 w 1303338"/>
              <a:gd name="connsiteY153" fmla="*/ 606425 h 1303338"/>
              <a:gd name="connsiteX154" fmla="*/ 570180 w 1303338"/>
              <a:gd name="connsiteY154" fmla="*/ 606425 h 1303338"/>
              <a:gd name="connsiteX155" fmla="*/ 532295 w 1303338"/>
              <a:gd name="connsiteY155" fmla="*/ 582189 h 1303338"/>
              <a:gd name="connsiteX156" fmla="*/ 502988 w 1303338"/>
              <a:gd name="connsiteY156" fmla="*/ 465284 h 1303338"/>
              <a:gd name="connsiteX157" fmla="*/ 492981 w 1303338"/>
              <a:gd name="connsiteY157" fmla="*/ 445324 h 1303338"/>
              <a:gd name="connsiteX158" fmla="*/ 472966 w 1303338"/>
              <a:gd name="connsiteY158" fmla="*/ 455304 h 1303338"/>
              <a:gd name="connsiteX159" fmla="*/ 510136 w 1303338"/>
              <a:gd name="connsiteY159" fmla="*/ 604999 h 1303338"/>
              <a:gd name="connsiteX160" fmla="*/ 511566 w 1303338"/>
              <a:gd name="connsiteY160" fmla="*/ 606425 h 1303338"/>
              <a:gd name="connsiteX161" fmla="*/ 292118 w 1303338"/>
              <a:gd name="connsiteY161" fmla="*/ 606425 h 1303338"/>
              <a:gd name="connsiteX162" fmla="*/ 263525 w 1303338"/>
              <a:gd name="connsiteY162" fmla="*/ 540131 h 1303338"/>
              <a:gd name="connsiteX163" fmla="*/ 352877 w 1303338"/>
              <a:gd name="connsiteY163" fmla="*/ 444612 h 1303338"/>
              <a:gd name="connsiteX164" fmla="*/ 353592 w 1303338"/>
              <a:gd name="connsiteY164" fmla="*/ 444612 h 1303338"/>
              <a:gd name="connsiteX165" fmla="*/ 352877 w 1303338"/>
              <a:gd name="connsiteY165" fmla="*/ 455304 h 1303338"/>
              <a:gd name="connsiteX166" fmla="*/ 375036 w 1303338"/>
              <a:gd name="connsiteY166" fmla="*/ 542270 h 1303338"/>
              <a:gd name="connsiteX167" fmla="*/ 389333 w 1303338"/>
              <a:gd name="connsiteY167" fmla="*/ 550111 h 1303338"/>
              <a:gd name="connsiteX168" fmla="*/ 396481 w 1303338"/>
              <a:gd name="connsiteY168" fmla="*/ 548686 h 1303338"/>
              <a:gd name="connsiteX169" fmla="*/ 402914 w 1303338"/>
              <a:gd name="connsiteY169" fmla="*/ 527300 h 1303338"/>
              <a:gd name="connsiteX170" fmla="*/ 384329 w 1303338"/>
              <a:gd name="connsiteY170" fmla="*/ 455304 h 1303338"/>
              <a:gd name="connsiteX171" fmla="*/ 400055 w 1303338"/>
              <a:gd name="connsiteY171" fmla="*/ 389010 h 1303338"/>
              <a:gd name="connsiteX172" fmla="*/ 432221 w 1303338"/>
              <a:gd name="connsiteY172" fmla="*/ 351230 h 1303338"/>
              <a:gd name="connsiteX173" fmla="*/ 529436 w 1303338"/>
              <a:gd name="connsiteY173" fmla="*/ 317014 h 1303338"/>
              <a:gd name="connsiteX174" fmla="*/ 604492 w 1303338"/>
              <a:gd name="connsiteY174" fmla="*/ 336261 h 1303338"/>
              <a:gd name="connsiteX175" fmla="*/ 613784 w 1303338"/>
              <a:gd name="connsiteY175" fmla="*/ 340538 h 1303338"/>
              <a:gd name="connsiteX176" fmla="*/ 667395 w 1303338"/>
              <a:gd name="connsiteY176" fmla="*/ 441760 h 1303338"/>
              <a:gd name="connsiteX177" fmla="*/ 629510 w 1303338"/>
              <a:gd name="connsiteY177" fmla="*/ 440335 h 1303338"/>
              <a:gd name="connsiteX178" fmla="*/ 615929 w 1303338"/>
              <a:gd name="connsiteY178" fmla="*/ 458155 h 1303338"/>
              <a:gd name="connsiteX179" fmla="*/ 633799 w 1303338"/>
              <a:gd name="connsiteY179" fmla="*/ 471699 h 1303338"/>
              <a:gd name="connsiteX180" fmla="*/ 736017 w 1303338"/>
              <a:gd name="connsiteY180" fmla="*/ 550111 h 1303338"/>
              <a:gd name="connsiteX181" fmla="*/ 751743 w 1303338"/>
              <a:gd name="connsiteY181" fmla="*/ 563655 h 1303338"/>
              <a:gd name="connsiteX182" fmla="*/ 753888 w 1303338"/>
              <a:gd name="connsiteY182" fmla="*/ 563655 h 1303338"/>
              <a:gd name="connsiteX183" fmla="*/ 767469 w 1303338"/>
              <a:gd name="connsiteY183" fmla="*/ 545834 h 1303338"/>
              <a:gd name="connsiteX184" fmla="*/ 699562 w 1303338"/>
              <a:gd name="connsiteY184" fmla="*/ 451740 h 1303338"/>
              <a:gd name="connsiteX185" fmla="*/ 651669 w 1303338"/>
              <a:gd name="connsiteY185" fmla="*/ 333409 h 1303338"/>
              <a:gd name="connsiteX186" fmla="*/ 735302 w 1303338"/>
              <a:gd name="connsiteY186" fmla="*/ 312737 h 1303338"/>
              <a:gd name="connsiteX187" fmla="*/ 735123 w 1303338"/>
              <a:gd name="connsiteY187" fmla="*/ 284162 h 1303338"/>
              <a:gd name="connsiteX188" fmla="*/ 713011 w 1303338"/>
              <a:gd name="connsiteY188" fmla="*/ 285594 h 1303338"/>
              <a:gd name="connsiteX189" fmla="*/ 633837 w 1303338"/>
              <a:gd name="connsiteY189" fmla="*/ 310654 h 1303338"/>
              <a:gd name="connsiteX190" fmla="*/ 629557 w 1303338"/>
              <a:gd name="connsiteY190" fmla="*/ 312802 h 1303338"/>
              <a:gd name="connsiteX191" fmla="*/ 618144 w 1303338"/>
              <a:gd name="connsiteY191" fmla="*/ 310654 h 1303338"/>
              <a:gd name="connsiteX192" fmla="*/ 529697 w 1303338"/>
              <a:gd name="connsiteY192" fmla="*/ 288458 h 1303338"/>
              <a:gd name="connsiteX193" fmla="*/ 414858 w 1303338"/>
              <a:gd name="connsiteY193" fmla="*/ 329270 h 1303338"/>
              <a:gd name="connsiteX194" fmla="*/ 362789 w 1303338"/>
              <a:gd name="connsiteY194" fmla="*/ 405881 h 1303338"/>
              <a:gd name="connsiteX195" fmla="*/ 358509 w 1303338"/>
              <a:gd name="connsiteY195" fmla="*/ 412325 h 1303338"/>
              <a:gd name="connsiteX196" fmla="*/ 349949 w 1303338"/>
              <a:gd name="connsiteY196" fmla="*/ 416621 h 1303338"/>
              <a:gd name="connsiteX197" fmla="*/ 236537 w 1303338"/>
              <a:gd name="connsiteY197" fmla="*/ 540489 h 1303338"/>
              <a:gd name="connsiteX198" fmla="*/ 263642 w 1303338"/>
              <a:gd name="connsiteY198" fmla="*/ 615668 h 1303338"/>
              <a:gd name="connsiteX199" fmla="*/ 277908 w 1303338"/>
              <a:gd name="connsiteY199" fmla="*/ 630704 h 1303338"/>
              <a:gd name="connsiteX200" fmla="*/ 282187 w 1303338"/>
              <a:gd name="connsiteY200" fmla="*/ 635000 h 1303338"/>
              <a:gd name="connsiteX201" fmla="*/ 324271 w 1303338"/>
              <a:gd name="connsiteY201" fmla="*/ 635000 h 1303338"/>
              <a:gd name="connsiteX202" fmla="*/ 555375 w 1303338"/>
              <a:gd name="connsiteY202" fmla="*/ 635000 h 1303338"/>
              <a:gd name="connsiteX203" fmla="*/ 628844 w 1303338"/>
              <a:gd name="connsiteY203" fmla="*/ 635000 h 1303338"/>
              <a:gd name="connsiteX204" fmla="*/ 989052 w 1303338"/>
              <a:gd name="connsiteY204" fmla="*/ 635000 h 1303338"/>
              <a:gd name="connsiteX205" fmla="*/ 1006171 w 1303338"/>
              <a:gd name="connsiteY205" fmla="*/ 635000 h 1303338"/>
              <a:gd name="connsiteX206" fmla="*/ 1032563 w 1303338"/>
              <a:gd name="connsiteY206" fmla="*/ 625692 h 1303338"/>
              <a:gd name="connsiteX207" fmla="*/ 1066800 w 1303338"/>
              <a:gd name="connsiteY207" fmla="*/ 571277 h 1303338"/>
              <a:gd name="connsiteX208" fmla="*/ 927710 w 1303338"/>
              <a:gd name="connsiteY208" fmla="*/ 409461 h 1303338"/>
              <a:gd name="connsiteX209" fmla="*/ 921290 w 1303338"/>
              <a:gd name="connsiteY209" fmla="*/ 405881 h 1303338"/>
              <a:gd name="connsiteX210" fmla="*/ 917011 w 1303338"/>
              <a:gd name="connsiteY210" fmla="*/ 400153 h 1303338"/>
              <a:gd name="connsiteX211" fmla="*/ 853528 w 1303338"/>
              <a:gd name="connsiteY211" fmla="*/ 322110 h 1303338"/>
              <a:gd name="connsiteX212" fmla="*/ 735123 w 1303338"/>
              <a:gd name="connsiteY212" fmla="*/ 284162 h 1303338"/>
              <a:gd name="connsiteX213" fmla="*/ 735191 w 1303338"/>
              <a:gd name="connsiteY213" fmla="*/ 254000 h 1303338"/>
              <a:gd name="connsiteX214" fmla="*/ 872254 w 1303338"/>
              <a:gd name="connsiteY214" fmla="*/ 297542 h 1303338"/>
              <a:gd name="connsiteX215" fmla="*/ 942927 w 1303338"/>
              <a:gd name="connsiteY215" fmla="*/ 381771 h 1303338"/>
              <a:gd name="connsiteX216" fmla="*/ 1047866 w 1303338"/>
              <a:gd name="connsiteY216" fmla="*/ 452438 h 1303338"/>
              <a:gd name="connsiteX217" fmla="*/ 1098550 w 1303338"/>
              <a:gd name="connsiteY217" fmla="*/ 571643 h 1303338"/>
              <a:gd name="connsiteX218" fmla="*/ 1055004 w 1303338"/>
              <a:gd name="connsiteY218" fmla="*/ 649448 h 1303338"/>
              <a:gd name="connsiteX219" fmla="*/ 1098550 w 1303338"/>
              <a:gd name="connsiteY219" fmla="*/ 727966 h 1303338"/>
              <a:gd name="connsiteX220" fmla="*/ 1038585 w 1303338"/>
              <a:gd name="connsiteY220" fmla="*/ 857878 h 1303338"/>
              <a:gd name="connsiteX221" fmla="*/ 942927 w 1303338"/>
              <a:gd name="connsiteY221" fmla="*/ 919979 h 1303338"/>
              <a:gd name="connsiteX222" fmla="*/ 872254 w 1303338"/>
              <a:gd name="connsiteY222" fmla="*/ 1003494 h 1303338"/>
              <a:gd name="connsiteX223" fmla="*/ 735191 w 1303338"/>
              <a:gd name="connsiteY223" fmla="*/ 1047750 h 1303338"/>
              <a:gd name="connsiteX224" fmla="*/ 625969 w 1303338"/>
              <a:gd name="connsiteY224" fmla="*/ 1020626 h 1303338"/>
              <a:gd name="connsiteX225" fmla="*/ 529597 w 1303338"/>
              <a:gd name="connsiteY225" fmla="*/ 1043467 h 1303338"/>
              <a:gd name="connsiteX226" fmla="*/ 394676 w 1303338"/>
              <a:gd name="connsiteY226" fmla="*/ 995642 h 1303338"/>
              <a:gd name="connsiteX227" fmla="*/ 335425 w 1303338"/>
              <a:gd name="connsiteY227" fmla="*/ 913555 h 1303338"/>
              <a:gd name="connsiteX228" fmla="*/ 204787 w 1303338"/>
              <a:gd name="connsiteY228" fmla="*/ 760801 h 1303338"/>
              <a:gd name="connsiteX229" fmla="*/ 252616 w 1303338"/>
              <a:gd name="connsiteY229" fmla="*/ 650875 h 1303338"/>
              <a:gd name="connsiteX230" fmla="*/ 204787 w 1303338"/>
              <a:gd name="connsiteY230" fmla="*/ 540949 h 1303338"/>
              <a:gd name="connsiteX231" fmla="*/ 335425 w 1303338"/>
              <a:gd name="connsiteY231" fmla="*/ 388195 h 1303338"/>
              <a:gd name="connsiteX232" fmla="*/ 394676 w 1303338"/>
              <a:gd name="connsiteY232" fmla="*/ 306108 h 1303338"/>
              <a:gd name="connsiteX233" fmla="*/ 529597 w 1303338"/>
              <a:gd name="connsiteY233" fmla="*/ 258283 h 1303338"/>
              <a:gd name="connsiteX234" fmla="*/ 625969 w 1303338"/>
              <a:gd name="connsiteY234" fmla="*/ 280411 h 1303338"/>
              <a:gd name="connsiteX235" fmla="*/ 735191 w 1303338"/>
              <a:gd name="connsiteY235" fmla="*/ 254000 h 1303338"/>
              <a:gd name="connsiteX236" fmla="*/ 965440 w 1303338"/>
              <a:gd name="connsiteY236" fmla="*/ 85579 h 1303338"/>
              <a:gd name="connsiteX237" fmla="*/ 977456 w 1303338"/>
              <a:gd name="connsiteY237" fmla="*/ 87539 h 1303338"/>
              <a:gd name="connsiteX238" fmla="*/ 983152 w 1303338"/>
              <a:gd name="connsiteY238" fmla="*/ 108922 h 1303338"/>
              <a:gd name="connsiteX239" fmla="*/ 921917 w 1303338"/>
              <a:gd name="connsiteY239" fmla="*/ 214410 h 1303338"/>
              <a:gd name="connsiteX240" fmla="*/ 908388 w 1303338"/>
              <a:gd name="connsiteY240" fmla="*/ 222250 h 1303338"/>
              <a:gd name="connsiteX241" fmla="*/ 900555 w 1303338"/>
              <a:gd name="connsiteY241" fmla="*/ 220112 h 1303338"/>
              <a:gd name="connsiteX242" fmla="*/ 894859 w 1303338"/>
              <a:gd name="connsiteY242" fmla="*/ 198729 h 1303338"/>
              <a:gd name="connsiteX243" fmla="*/ 956095 w 1303338"/>
              <a:gd name="connsiteY243" fmla="*/ 93241 h 1303338"/>
              <a:gd name="connsiteX244" fmla="*/ 965440 w 1303338"/>
              <a:gd name="connsiteY244" fmla="*/ 85579 h 1303338"/>
              <a:gd name="connsiteX245" fmla="*/ 341312 w 1303338"/>
              <a:gd name="connsiteY245" fmla="*/ 83813 h 1303338"/>
              <a:gd name="connsiteX246" fmla="*/ 350837 w 1303338"/>
              <a:gd name="connsiteY246" fmla="*/ 90940 h 1303338"/>
              <a:gd name="connsiteX247" fmla="*/ 410103 w 1303338"/>
              <a:gd name="connsiteY247" fmla="*/ 197141 h 1303338"/>
              <a:gd name="connsiteX248" fmla="*/ 404459 w 1303338"/>
              <a:gd name="connsiteY248" fmla="*/ 218524 h 1303338"/>
              <a:gd name="connsiteX249" fmla="*/ 396698 w 1303338"/>
              <a:gd name="connsiteY249" fmla="*/ 220662 h 1303338"/>
              <a:gd name="connsiteX250" fmla="*/ 383292 w 1303338"/>
              <a:gd name="connsiteY250" fmla="*/ 212109 h 1303338"/>
              <a:gd name="connsiteX251" fmla="*/ 323320 w 1303338"/>
              <a:gd name="connsiteY251" fmla="*/ 106621 h 1303338"/>
              <a:gd name="connsiteX252" fmla="*/ 329670 w 1303338"/>
              <a:gd name="connsiteY252" fmla="*/ 85238 h 1303338"/>
              <a:gd name="connsiteX253" fmla="*/ 341312 w 1303338"/>
              <a:gd name="connsiteY253" fmla="*/ 83813 h 1303338"/>
              <a:gd name="connsiteX254" fmla="*/ 651668 w 1303338"/>
              <a:gd name="connsiteY254" fmla="*/ 0 h 1303338"/>
              <a:gd name="connsiteX255" fmla="*/ 666750 w 1303338"/>
              <a:gd name="connsiteY255" fmla="*/ 15757 h 1303338"/>
              <a:gd name="connsiteX256" fmla="*/ 666750 w 1303338"/>
              <a:gd name="connsiteY256" fmla="*/ 138231 h 1303338"/>
              <a:gd name="connsiteX257" fmla="*/ 651668 w 1303338"/>
              <a:gd name="connsiteY257" fmla="*/ 153988 h 1303338"/>
              <a:gd name="connsiteX258" fmla="*/ 636587 w 1303338"/>
              <a:gd name="connsiteY258" fmla="*/ 138231 h 1303338"/>
              <a:gd name="connsiteX259" fmla="*/ 636587 w 1303338"/>
              <a:gd name="connsiteY259" fmla="*/ 15757 h 1303338"/>
              <a:gd name="connsiteX260" fmla="*/ 651668 w 1303338"/>
              <a:gd name="connsiteY260" fmla="*/ 0 h 1303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</a:cxnLst>
            <a:rect l="l" t="t" r="r" b="b"/>
            <a:pathLst>
              <a:path w="1303338" h="1303338">
                <a:moveTo>
                  <a:pt x="650451" y="1149350"/>
                </a:moveTo>
                <a:cubicBezTo>
                  <a:pt x="659341" y="1149350"/>
                  <a:pt x="666750" y="1156512"/>
                  <a:pt x="666750" y="1165107"/>
                </a:cubicBezTo>
                <a:cubicBezTo>
                  <a:pt x="666750" y="1165107"/>
                  <a:pt x="666750" y="1165107"/>
                  <a:pt x="666009" y="1287581"/>
                </a:cubicBezTo>
                <a:cubicBezTo>
                  <a:pt x="666009" y="1296176"/>
                  <a:pt x="659341" y="1303338"/>
                  <a:pt x="649710" y="1303338"/>
                </a:cubicBezTo>
                <a:cubicBezTo>
                  <a:pt x="640820" y="1303338"/>
                  <a:pt x="633412" y="1296176"/>
                  <a:pt x="633412" y="1287581"/>
                </a:cubicBezTo>
                <a:cubicBezTo>
                  <a:pt x="633412" y="1287581"/>
                  <a:pt x="633412" y="1287581"/>
                  <a:pt x="634153" y="1165107"/>
                </a:cubicBezTo>
                <a:cubicBezTo>
                  <a:pt x="634153" y="1156512"/>
                  <a:pt x="641561" y="1149350"/>
                  <a:pt x="650451" y="1149350"/>
                </a:cubicBezTo>
                <a:close/>
                <a:moveTo>
                  <a:pt x="911429" y="1082351"/>
                </a:moveTo>
                <a:cubicBezTo>
                  <a:pt x="915345" y="1083420"/>
                  <a:pt x="918906" y="1085915"/>
                  <a:pt x="921042" y="1089479"/>
                </a:cubicBezTo>
                <a:lnTo>
                  <a:pt x="981565" y="1195679"/>
                </a:lnTo>
                <a:cubicBezTo>
                  <a:pt x="985838" y="1202807"/>
                  <a:pt x="982990" y="1212785"/>
                  <a:pt x="975869" y="1217062"/>
                </a:cubicBezTo>
                <a:cubicBezTo>
                  <a:pt x="973021" y="1218487"/>
                  <a:pt x="970173" y="1219200"/>
                  <a:pt x="968037" y="1219200"/>
                </a:cubicBezTo>
                <a:cubicBezTo>
                  <a:pt x="962340" y="1219200"/>
                  <a:pt x="957356" y="1216349"/>
                  <a:pt x="954508" y="1211360"/>
                </a:cubicBezTo>
                <a:cubicBezTo>
                  <a:pt x="954508" y="1211360"/>
                  <a:pt x="954508" y="1211360"/>
                  <a:pt x="893272" y="1105159"/>
                </a:cubicBezTo>
                <a:cubicBezTo>
                  <a:pt x="889000" y="1098032"/>
                  <a:pt x="891848" y="1088053"/>
                  <a:pt x="899680" y="1083777"/>
                </a:cubicBezTo>
                <a:cubicBezTo>
                  <a:pt x="903241" y="1081638"/>
                  <a:pt x="907513" y="1081282"/>
                  <a:pt x="911429" y="1082351"/>
                </a:cubicBezTo>
                <a:close/>
                <a:moveTo>
                  <a:pt x="389179" y="1080778"/>
                </a:moveTo>
                <a:cubicBezTo>
                  <a:pt x="393006" y="1079703"/>
                  <a:pt x="397278" y="1080061"/>
                  <a:pt x="401194" y="1082211"/>
                </a:cubicBezTo>
                <a:cubicBezTo>
                  <a:pt x="408315" y="1086509"/>
                  <a:pt x="411163" y="1096539"/>
                  <a:pt x="406890" y="1103703"/>
                </a:cubicBezTo>
                <a:cubicBezTo>
                  <a:pt x="406890" y="1103703"/>
                  <a:pt x="406890" y="1103703"/>
                  <a:pt x="345655" y="1209732"/>
                </a:cubicBezTo>
                <a:cubicBezTo>
                  <a:pt x="342807" y="1214746"/>
                  <a:pt x="337110" y="1217612"/>
                  <a:pt x="332126" y="1217612"/>
                </a:cubicBezTo>
                <a:cubicBezTo>
                  <a:pt x="329278" y="1217612"/>
                  <a:pt x="326430" y="1216896"/>
                  <a:pt x="324293" y="1215463"/>
                </a:cubicBezTo>
                <a:cubicBezTo>
                  <a:pt x="316461" y="1211164"/>
                  <a:pt x="314325" y="1201851"/>
                  <a:pt x="318597" y="1193971"/>
                </a:cubicBezTo>
                <a:cubicBezTo>
                  <a:pt x="318597" y="1193971"/>
                  <a:pt x="318597" y="1193971"/>
                  <a:pt x="379833" y="1087942"/>
                </a:cubicBezTo>
                <a:cubicBezTo>
                  <a:pt x="381969" y="1084360"/>
                  <a:pt x="385351" y="1081852"/>
                  <a:pt x="389179" y="1080778"/>
                </a:cubicBezTo>
                <a:close/>
                <a:moveTo>
                  <a:pt x="1091713" y="894992"/>
                </a:moveTo>
                <a:cubicBezTo>
                  <a:pt x="1095591" y="893936"/>
                  <a:pt x="1099921" y="894288"/>
                  <a:pt x="1103890" y="896401"/>
                </a:cubicBezTo>
                <a:cubicBezTo>
                  <a:pt x="1103890" y="896401"/>
                  <a:pt x="1103890" y="896401"/>
                  <a:pt x="1210685" y="956965"/>
                </a:cubicBezTo>
                <a:cubicBezTo>
                  <a:pt x="1217901" y="961190"/>
                  <a:pt x="1220787" y="971049"/>
                  <a:pt x="1216458" y="978092"/>
                </a:cubicBezTo>
                <a:cubicBezTo>
                  <a:pt x="1213571" y="983021"/>
                  <a:pt x="1207799" y="985838"/>
                  <a:pt x="1202747" y="985838"/>
                </a:cubicBezTo>
                <a:cubicBezTo>
                  <a:pt x="1199861" y="985838"/>
                  <a:pt x="1196975" y="985134"/>
                  <a:pt x="1194810" y="983725"/>
                </a:cubicBezTo>
                <a:cubicBezTo>
                  <a:pt x="1194810" y="983725"/>
                  <a:pt x="1194810" y="983725"/>
                  <a:pt x="1088015" y="923161"/>
                </a:cubicBezTo>
                <a:cubicBezTo>
                  <a:pt x="1080077" y="918936"/>
                  <a:pt x="1077912" y="909781"/>
                  <a:pt x="1082242" y="902034"/>
                </a:cubicBezTo>
                <a:cubicBezTo>
                  <a:pt x="1084407" y="898513"/>
                  <a:pt x="1087834" y="896048"/>
                  <a:pt x="1091713" y="894992"/>
                </a:cubicBezTo>
                <a:close/>
                <a:moveTo>
                  <a:pt x="210191" y="892044"/>
                </a:moveTo>
                <a:cubicBezTo>
                  <a:pt x="214026" y="893118"/>
                  <a:pt x="217416" y="895804"/>
                  <a:pt x="219556" y="899743"/>
                </a:cubicBezTo>
                <a:cubicBezTo>
                  <a:pt x="223838" y="906904"/>
                  <a:pt x="221697" y="916931"/>
                  <a:pt x="213848" y="921228"/>
                </a:cubicBezTo>
                <a:cubicBezTo>
                  <a:pt x="213848" y="921228"/>
                  <a:pt x="213848" y="921228"/>
                  <a:pt x="108238" y="982102"/>
                </a:cubicBezTo>
                <a:cubicBezTo>
                  <a:pt x="105384" y="983534"/>
                  <a:pt x="102530" y="984250"/>
                  <a:pt x="100389" y="984250"/>
                </a:cubicBezTo>
                <a:cubicBezTo>
                  <a:pt x="94681" y="984250"/>
                  <a:pt x="89686" y="981385"/>
                  <a:pt x="86831" y="975656"/>
                </a:cubicBezTo>
                <a:cubicBezTo>
                  <a:pt x="82550" y="968494"/>
                  <a:pt x="84690" y="958468"/>
                  <a:pt x="92540" y="954171"/>
                </a:cubicBezTo>
                <a:cubicBezTo>
                  <a:pt x="92540" y="954171"/>
                  <a:pt x="92540" y="954171"/>
                  <a:pt x="198149" y="894013"/>
                </a:cubicBezTo>
                <a:cubicBezTo>
                  <a:pt x="202074" y="891507"/>
                  <a:pt x="206355" y="890970"/>
                  <a:pt x="210191" y="892044"/>
                </a:cubicBezTo>
                <a:close/>
                <a:moveTo>
                  <a:pt x="292118" y="693737"/>
                </a:moveTo>
                <a:cubicBezTo>
                  <a:pt x="292118" y="693737"/>
                  <a:pt x="292118" y="693737"/>
                  <a:pt x="711714" y="693737"/>
                </a:cubicBezTo>
                <a:cubicBezTo>
                  <a:pt x="726725" y="698727"/>
                  <a:pt x="741021" y="707281"/>
                  <a:pt x="753173" y="718686"/>
                </a:cubicBezTo>
                <a:cubicBezTo>
                  <a:pt x="784625" y="748625"/>
                  <a:pt x="796062" y="794247"/>
                  <a:pt x="782480" y="835591"/>
                </a:cubicBezTo>
                <a:cubicBezTo>
                  <a:pt x="779621" y="844145"/>
                  <a:pt x="784625" y="852699"/>
                  <a:pt x="792488" y="855551"/>
                </a:cubicBezTo>
                <a:cubicBezTo>
                  <a:pt x="793917" y="856264"/>
                  <a:pt x="796062" y="856264"/>
                  <a:pt x="797491" y="856264"/>
                </a:cubicBezTo>
                <a:cubicBezTo>
                  <a:pt x="803925" y="856264"/>
                  <a:pt x="810358" y="851986"/>
                  <a:pt x="812502" y="845571"/>
                </a:cubicBezTo>
                <a:cubicBezTo>
                  <a:pt x="830373" y="792821"/>
                  <a:pt x="815362" y="734369"/>
                  <a:pt x="774617" y="695876"/>
                </a:cubicBezTo>
                <a:cubicBezTo>
                  <a:pt x="773902" y="695163"/>
                  <a:pt x="773188" y="694450"/>
                  <a:pt x="772473" y="693737"/>
                </a:cubicBezTo>
                <a:cubicBezTo>
                  <a:pt x="772473" y="693737"/>
                  <a:pt x="772473" y="693737"/>
                  <a:pt x="1006932" y="693737"/>
                </a:cubicBezTo>
                <a:cubicBezTo>
                  <a:pt x="1027661" y="695876"/>
                  <a:pt x="1039813" y="707994"/>
                  <a:pt x="1039813" y="727240"/>
                </a:cubicBezTo>
                <a:cubicBezTo>
                  <a:pt x="1039813" y="754328"/>
                  <a:pt x="1024087" y="787119"/>
                  <a:pt x="996210" y="816345"/>
                </a:cubicBezTo>
                <a:cubicBezTo>
                  <a:pt x="976195" y="837017"/>
                  <a:pt x="954036" y="851986"/>
                  <a:pt x="932591" y="859828"/>
                </a:cubicBezTo>
                <a:cubicBezTo>
                  <a:pt x="936165" y="844858"/>
                  <a:pt x="938310" y="828463"/>
                  <a:pt x="938310" y="812068"/>
                </a:cubicBezTo>
                <a:cubicBezTo>
                  <a:pt x="938310" y="803514"/>
                  <a:pt x="931161" y="796385"/>
                  <a:pt x="922584" y="796385"/>
                </a:cubicBezTo>
                <a:cubicBezTo>
                  <a:pt x="913291" y="796385"/>
                  <a:pt x="906858" y="803514"/>
                  <a:pt x="906858" y="812068"/>
                </a:cubicBezTo>
                <a:cubicBezTo>
                  <a:pt x="906858" y="859828"/>
                  <a:pt x="888987" y="903311"/>
                  <a:pt x="859680" y="935388"/>
                </a:cubicBezTo>
                <a:cubicBezTo>
                  <a:pt x="853247" y="942517"/>
                  <a:pt x="846099" y="948932"/>
                  <a:pt x="838236" y="954635"/>
                </a:cubicBezTo>
                <a:cubicBezTo>
                  <a:pt x="808213" y="976020"/>
                  <a:pt x="772473" y="987425"/>
                  <a:pt x="735302" y="987425"/>
                </a:cubicBezTo>
                <a:cubicBezTo>
                  <a:pt x="703851" y="987425"/>
                  <a:pt x="673828" y="978871"/>
                  <a:pt x="647380" y="963902"/>
                </a:cubicBezTo>
                <a:cubicBezTo>
                  <a:pt x="647380" y="963902"/>
                  <a:pt x="647380" y="963902"/>
                  <a:pt x="639517" y="959625"/>
                </a:cubicBezTo>
                <a:cubicBezTo>
                  <a:pt x="614499" y="941804"/>
                  <a:pt x="594484" y="916142"/>
                  <a:pt x="581617" y="886203"/>
                </a:cubicBezTo>
                <a:cubicBezTo>
                  <a:pt x="611640" y="878361"/>
                  <a:pt x="637373" y="860541"/>
                  <a:pt x="653814" y="834166"/>
                </a:cubicBezTo>
                <a:cubicBezTo>
                  <a:pt x="658817" y="827037"/>
                  <a:pt x="656673" y="817058"/>
                  <a:pt x="649525" y="812781"/>
                </a:cubicBezTo>
                <a:cubicBezTo>
                  <a:pt x="642377" y="807791"/>
                  <a:pt x="632369" y="809929"/>
                  <a:pt x="627366" y="817058"/>
                </a:cubicBezTo>
                <a:cubicBezTo>
                  <a:pt x="614499" y="837730"/>
                  <a:pt x="593769" y="851274"/>
                  <a:pt x="570180" y="856264"/>
                </a:cubicBezTo>
                <a:cubicBezTo>
                  <a:pt x="545877" y="861966"/>
                  <a:pt x="521573" y="856976"/>
                  <a:pt x="501558" y="844145"/>
                </a:cubicBezTo>
                <a:cubicBezTo>
                  <a:pt x="493695" y="839155"/>
                  <a:pt x="484403" y="841294"/>
                  <a:pt x="479399" y="848422"/>
                </a:cubicBezTo>
                <a:cubicBezTo>
                  <a:pt x="474395" y="855551"/>
                  <a:pt x="476540" y="865530"/>
                  <a:pt x="484403" y="869807"/>
                </a:cubicBezTo>
                <a:cubicBezTo>
                  <a:pt x="503703" y="882638"/>
                  <a:pt x="526577" y="889767"/>
                  <a:pt x="549451" y="889767"/>
                </a:cubicBezTo>
                <a:cubicBezTo>
                  <a:pt x="560888" y="919706"/>
                  <a:pt x="578043" y="945368"/>
                  <a:pt x="599488" y="966753"/>
                </a:cubicBezTo>
                <a:cubicBezTo>
                  <a:pt x="578043" y="977445"/>
                  <a:pt x="554455" y="983148"/>
                  <a:pt x="529436" y="983148"/>
                </a:cubicBezTo>
                <a:cubicBezTo>
                  <a:pt x="493695" y="983148"/>
                  <a:pt x="459384" y="971030"/>
                  <a:pt x="432221" y="948932"/>
                </a:cubicBezTo>
                <a:cubicBezTo>
                  <a:pt x="411492" y="931824"/>
                  <a:pt x="396481" y="909726"/>
                  <a:pt x="388618" y="885490"/>
                </a:cubicBezTo>
                <a:cubicBezTo>
                  <a:pt x="388618" y="885490"/>
                  <a:pt x="388618" y="885490"/>
                  <a:pt x="385758" y="875510"/>
                </a:cubicBezTo>
                <a:cubicBezTo>
                  <a:pt x="382899" y="864818"/>
                  <a:pt x="381470" y="854125"/>
                  <a:pt x="381470" y="842720"/>
                </a:cubicBezTo>
                <a:cubicBezTo>
                  <a:pt x="381470" y="817058"/>
                  <a:pt x="387903" y="792821"/>
                  <a:pt x="400770" y="770723"/>
                </a:cubicBezTo>
                <a:cubicBezTo>
                  <a:pt x="405058" y="763595"/>
                  <a:pt x="402199" y="753615"/>
                  <a:pt x="394336" y="749338"/>
                </a:cubicBezTo>
                <a:cubicBezTo>
                  <a:pt x="387188" y="745061"/>
                  <a:pt x="377181" y="747913"/>
                  <a:pt x="372892" y="755041"/>
                </a:cubicBezTo>
                <a:cubicBezTo>
                  <a:pt x="357881" y="782129"/>
                  <a:pt x="350018" y="812068"/>
                  <a:pt x="350018" y="842720"/>
                </a:cubicBezTo>
                <a:cubicBezTo>
                  <a:pt x="350018" y="846997"/>
                  <a:pt x="350733" y="850561"/>
                  <a:pt x="350733" y="854838"/>
                </a:cubicBezTo>
                <a:cubicBezTo>
                  <a:pt x="300696" y="847709"/>
                  <a:pt x="263525" y="807078"/>
                  <a:pt x="263525" y="760031"/>
                </a:cubicBezTo>
                <a:cubicBezTo>
                  <a:pt x="263525" y="735794"/>
                  <a:pt x="274247" y="711558"/>
                  <a:pt x="292118" y="693737"/>
                </a:cubicBezTo>
                <a:close/>
                <a:moveTo>
                  <a:pt x="282187" y="666750"/>
                </a:moveTo>
                <a:cubicBezTo>
                  <a:pt x="282187" y="666750"/>
                  <a:pt x="282187" y="666750"/>
                  <a:pt x="277908" y="671027"/>
                </a:cubicBezTo>
                <a:cubicBezTo>
                  <a:pt x="272915" y="675303"/>
                  <a:pt x="267922" y="680292"/>
                  <a:pt x="263642" y="685995"/>
                </a:cubicBezTo>
                <a:cubicBezTo>
                  <a:pt x="245810" y="707377"/>
                  <a:pt x="236537" y="733749"/>
                  <a:pt x="236537" y="760834"/>
                </a:cubicBezTo>
                <a:cubicBezTo>
                  <a:pt x="236537" y="822844"/>
                  <a:pt x="285041" y="875587"/>
                  <a:pt x="349949" y="883428"/>
                </a:cubicBezTo>
                <a:cubicBezTo>
                  <a:pt x="352089" y="884140"/>
                  <a:pt x="354229" y="884853"/>
                  <a:pt x="356369" y="886279"/>
                </a:cubicBezTo>
                <a:cubicBezTo>
                  <a:pt x="359222" y="887704"/>
                  <a:pt x="361362" y="891268"/>
                  <a:pt x="362789" y="894832"/>
                </a:cubicBezTo>
                <a:cubicBezTo>
                  <a:pt x="372061" y="924055"/>
                  <a:pt x="390607" y="950427"/>
                  <a:pt x="414858" y="971097"/>
                </a:cubicBezTo>
                <a:cubicBezTo>
                  <a:pt x="446956" y="997469"/>
                  <a:pt x="487613" y="1011724"/>
                  <a:pt x="529697" y="1011724"/>
                </a:cubicBezTo>
                <a:cubicBezTo>
                  <a:pt x="533977" y="1011724"/>
                  <a:pt x="537543" y="1011724"/>
                  <a:pt x="541823" y="1011724"/>
                </a:cubicBezTo>
                <a:cubicBezTo>
                  <a:pt x="568928" y="1009585"/>
                  <a:pt x="595319" y="1001745"/>
                  <a:pt x="618144" y="988915"/>
                </a:cubicBezTo>
                <a:cubicBezTo>
                  <a:pt x="619571" y="988203"/>
                  <a:pt x="621711" y="987490"/>
                  <a:pt x="623137" y="987490"/>
                </a:cubicBezTo>
                <a:cubicBezTo>
                  <a:pt x="623851" y="987490"/>
                  <a:pt x="625277" y="987490"/>
                  <a:pt x="625990" y="987490"/>
                </a:cubicBezTo>
                <a:cubicBezTo>
                  <a:pt x="628844" y="987490"/>
                  <a:pt x="630983" y="987490"/>
                  <a:pt x="633837" y="988915"/>
                </a:cubicBezTo>
                <a:cubicBezTo>
                  <a:pt x="663795" y="1006734"/>
                  <a:pt x="699459" y="1016000"/>
                  <a:pt x="735123" y="1016000"/>
                </a:cubicBezTo>
                <a:cubicBezTo>
                  <a:pt x="778633" y="1016000"/>
                  <a:pt x="819291" y="1002458"/>
                  <a:pt x="853528" y="978224"/>
                </a:cubicBezTo>
                <a:cubicBezTo>
                  <a:pt x="882060" y="958267"/>
                  <a:pt x="903458" y="931182"/>
                  <a:pt x="917011" y="900534"/>
                </a:cubicBezTo>
                <a:cubicBezTo>
                  <a:pt x="918437" y="897683"/>
                  <a:pt x="919864" y="895545"/>
                  <a:pt x="922003" y="894119"/>
                </a:cubicBezTo>
                <a:cubicBezTo>
                  <a:pt x="923430" y="892694"/>
                  <a:pt x="925570" y="891981"/>
                  <a:pt x="927710" y="891268"/>
                </a:cubicBezTo>
                <a:cubicBezTo>
                  <a:pt x="957668" y="884140"/>
                  <a:pt x="989052" y="864183"/>
                  <a:pt x="1015444" y="836386"/>
                </a:cubicBezTo>
                <a:cubicBezTo>
                  <a:pt x="1048255" y="802174"/>
                  <a:pt x="1066800" y="762259"/>
                  <a:pt x="1066800" y="728047"/>
                </a:cubicBezTo>
                <a:cubicBezTo>
                  <a:pt x="1066800" y="703101"/>
                  <a:pt x="1053961" y="683143"/>
                  <a:pt x="1032563" y="673165"/>
                </a:cubicBezTo>
                <a:cubicBezTo>
                  <a:pt x="1025430" y="669601"/>
                  <a:pt x="1016870" y="667463"/>
                  <a:pt x="1007598" y="666750"/>
                </a:cubicBezTo>
                <a:cubicBezTo>
                  <a:pt x="1007598" y="666750"/>
                  <a:pt x="1007598" y="666750"/>
                  <a:pt x="989766" y="666750"/>
                </a:cubicBezTo>
                <a:cubicBezTo>
                  <a:pt x="989766" y="666750"/>
                  <a:pt x="989766" y="666750"/>
                  <a:pt x="726564" y="666750"/>
                </a:cubicBezTo>
                <a:cubicBezTo>
                  <a:pt x="726564" y="666750"/>
                  <a:pt x="726564" y="666750"/>
                  <a:pt x="657375" y="666750"/>
                </a:cubicBezTo>
                <a:cubicBezTo>
                  <a:pt x="657375" y="666750"/>
                  <a:pt x="657375" y="666750"/>
                  <a:pt x="324271" y="666750"/>
                </a:cubicBezTo>
                <a:cubicBezTo>
                  <a:pt x="324271" y="666750"/>
                  <a:pt x="324271" y="666750"/>
                  <a:pt x="282187" y="666750"/>
                </a:cubicBezTo>
                <a:close/>
                <a:moveTo>
                  <a:pt x="1165107" y="636587"/>
                </a:moveTo>
                <a:cubicBezTo>
                  <a:pt x="1165107" y="636587"/>
                  <a:pt x="1165107" y="636587"/>
                  <a:pt x="1287581" y="636587"/>
                </a:cubicBezTo>
                <a:cubicBezTo>
                  <a:pt x="1296176" y="636587"/>
                  <a:pt x="1303338" y="643803"/>
                  <a:pt x="1303338" y="652462"/>
                </a:cubicBezTo>
                <a:cubicBezTo>
                  <a:pt x="1303338" y="661121"/>
                  <a:pt x="1296176" y="668337"/>
                  <a:pt x="1287581" y="668337"/>
                </a:cubicBezTo>
                <a:cubicBezTo>
                  <a:pt x="1287581" y="668337"/>
                  <a:pt x="1287581" y="668337"/>
                  <a:pt x="1165107" y="668337"/>
                </a:cubicBezTo>
                <a:cubicBezTo>
                  <a:pt x="1156512" y="668337"/>
                  <a:pt x="1149350" y="661121"/>
                  <a:pt x="1149350" y="652462"/>
                </a:cubicBezTo>
                <a:cubicBezTo>
                  <a:pt x="1149350" y="643803"/>
                  <a:pt x="1156512" y="636587"/>
                  <a:pt x="1165107" y="636587"/>
                </a:cubicBezTo>
                <a:close/>
                <a:moveTo>
                  <a:pt x="15757" y="633412"/>
                </a:moveTo>
                <a:cubicBezTo>
                  <a:pt x="15757" y="633412"/>
                  <a:pt x="15757" y="633412"/>
                  <a:pt x="138231" y="634118"/>
                </a:cubicBezTo>
                <a:cubicBezTo>
                  <a:pt x="146826" y="634118"/>
                  <a:pt x="153988" y="641173"/>
                  <a:pt x="153988" y="649640"/>
                </a:cubicBezTo>
                <a:cubicBezTo>
                  <a:pt x="153988" y="658107"/>
                  <a:pt x="146826" y="665162"/>
                  <a:pt x="138231" y="665162"/>
                </a:cubicBezTo>
                <a:cubicBezTo>
                  <a:pt x="138231" y="665162"/>
                  <a:pt x="138231" y="665162"/>
                  <a:pt x="15757" y="664457"/>
                </a:cubicBezTo>
                <a:cubicBezTo>
                  <a:pt x="7162" y="664457"/>
                  <a:pt x="0" y="657401"/>
                  <a:pt x="0" y="648934"/>
                </a:cubicBezTo>
                <a:cubicBezTo>
                  <a:pt x="0" y="640468"/>
                  <a:pt x="7162" y="633412"/>
                  <a:pt x="15757" y="633412"/>
                </a:cubicBezTo>
                <a:close/>
                <a:moveTo>
                  <a:pt x="1207141" y="318777"/>
                </a:moveTo>
                <a:cubicBezTo>
                  <a:pt x="1210977" y="319851"/>
                  <a:pt x="1214366" y="322358"/>
                  <a:pt x="1216507" y="325938"/>
                </a:cubicBezTo>
                <a:cubicBezTo>
                  <a:pt x="1220788" y="333816"/>
                  <a:pt x="1218648" y="343126"/>
                  <a:pt x="1210798" y="347423"/>
                </a:cubicBezTo>
                <a:cubicBezTo>
                  <a:pt x="1210798" y="347423"/>
                  <a:pt x="1210798" y="347423"/>
                  <a:pt x="1105189" y="409014"/>
                </a:cubicBezTo>
                <a:cubicBezTo>
                  <a:pt x="1102335" y="410446"/>
                  <a:pt x="1100194" y="411162"/>
                  <a:pt x="1097340" y="411162"/>
                </a:cubicBezTo>
                <a:cubicBezTo>
                  <a:pt x="1091631" y="411162"/>
                  <a:pt x="1086636" y="408297"/>
                  <a:pt x="1083782" y="403284"/>
                </a:cubicBezTo>
                <a:cubicBezTo>
                  <a:pt x="1079500" y="395406"/>
                  <a:pt x="1081641" y="386096"/>
                  <a:pt x="1089490" y="381799"/>
                </a:cubicBezTo>
                <a:cubicBezTo>
                  <a:pt x="1089490" y="381799"/>
                  <a:pt x="1089490" y="381799"/>
                  <a:pt x="1195100" y="320209"/>
                </a:cubicBezTo>
                <a:cubicBezTo>
                  <a:pt x="1199024" y="318061"/>
                  <a:pt x="1203306" y="317703"/>
                  <a:pt x="1207141" y="318777"/>
                </a:cubicBezTo>
                <a:close/>
                <a:moveTo>
                  <a:pt x="98498" y="315333"/>
                </a:moveTo>
                <a:cubicBezTo>
                  <a:pt x="102333" y="314348"/>
                  <a:pt x="106615" y="314885"/>
                  <a:pt x="110539" y="317034"/>
                </a:cubicBezTo>
                <a:cubicBezTo>
                  <a:pt x="110539" y="317034"/>
                  <a:pt x="110539" y="317034"/>
                  <a:pt x="215435" y="378624"/>
                </a:cubicBezTo>
                <a:cubicBezTo>
                  <a:pt x="223284" y="382921"/>
                  <a:pt x="225425" y="392948"/>
                  <a:pt x="221143" y="400109"/>
                </a:cubicBezTo>
                <a:cubicBezTo>
                  <a:pt x="218289" y="405122"/>
                  <a:pt x="213294" y="407987"/>
                  <a:pt x="207585" y="407987"/>
                </a:cubicBezTo>
                <a:cubicBezTo>
                  <a:pt x="204731" y="407987"/>
                  <a:pt x="202590" y="407271"/>
                  <a:pt x="199736" y="405839"/>
                </a:cubicBezTo>
                <a:cubicBezTo>
                  <a:pt x="199736" y="405839"/>
                  <a:pt x="199736" y="405839"/>
                  <a:pt x="94127" y="344248"/>
                </a:cubicBezTo>
                <a:cubicBezTo>
                  <a:pt x="86991" y="339951"/>
                  <a:pt x="84137" y="329925"/>
                  <a:pt x="89132" y="322763"/>
                </a:cubicBezTo>
                <a:cubicBezTo>
                  <a:pt x="91273" y="318825"/>
                  <a:pt x="94662" y="316318"/>
                  <a:pt x="98498" y="315333"/>
                </a:cubicBezTo>
                <a:close/>
                <a:moveTo>
                  <a:pt x="735302" y="312737"/>
                </a:moveTo>
                <a:cubicBezTo>
                  <a:pt x="771758" y="312737"/>
                  <a:pt x="806784" y="323430"/>
                  <a:pt x="836091" y="344102"/>
                </a:cubicBezTo>
                <a:cubicBezTo>
                  <a:pt x="878980" y="376892"/>
                  <a:pt x="906858" y="428929"/>
                  <a:pt x="906858" y="487382"/>
                </a:cubicBezTo>
                <a:cubicBezTo>
                  <a:pt x="906858" y="495936"/>
                  <a:pt x="913291" y="503064"/>
                  <a:pt x="922584" y="503064"/>
                </a:cubicBezTo>
                <a:cubicBezTo>
                  <a:pt x="931161" y="503064"/>
                  <a:pt x="938310" y="495936"/>
                  <a:pt x="938310" y="487382"/>
                </a:cubicBezTo>
                <a:cubicBezTo>
                  <a:pt x="938310" y="470986"/>
                  <a:pt x="936165" y="455304"/>
                  <a:pt x="932591" y="439622"/>
                </a:cubicBezTo>
                <a:cubicBezTo>
                  <a:pt x="987632" y="459581"/>
                  <a:pt x="1039813" y="521598"/>
                  <a:pt x="1039813" y="570783"/>
                </a:cubicBezTo>
                <a:cubicBezTo>
                  <a:pt x="1039813" y="589317"/>
                  <a:pt x="1021943" y="603574"/>
                  <a:pt x="1004787" y="606425"/>
                </a:cubicBezTo>
                <a:cubicBezTo>
                  <a:pt x="1004787" y="606425"/>
                  <a:pt x="1004787" y="606425"/>
                  <a:pt x="570180" y="606425"/>
                </a:cubicBezTo>
                <a:cubicBezTo>
                  <a:pt x="556599" y="601435"/>
                  <a:pt x="543018" y="592881"/>
                  <a:pt x="532295" y="582189"/>
                </a:cubicBezTo>
                <a:cubicBezTo>
                  <a:pt x="500129" y="552963"/>
                  <a:pt x="488692" y="506628"/>
                  <a:pt x="502988" y="465284"/>
                </a:cubicBezTo>
                <a:cubicBezTo>
                  <a:pt x="505132" y="457443"/>
                  <a:pt x="500843" y="448176"/>
                  <a:pt x="492981" y="445324"/>
                </a:cubicBezTo>
                <a:cubicBezTo>
                  <a:pt x="484403" y="443186"/>
                  <a:pt x="475825" y="447463"/>
                  <a:pt x="472966" y="455304"/>
                </a:cubicBezTo>
                <a:cubicBezTo>
                  <a:pt x="455095" y="508054"/>
                  <a:pt x="470106" y="567219"/>
                  <a:pt x="510136" y="604999"/>
                </a:cubicBezTo>
                <a:cubicBezTo>
                  <a:pt x="510851" y="605712"/>
                  <a:pt x="511566" y="605712"/>
                  <a:pt x="511566" y="606425"/>
                </a:cubicBezTo>
                <a:lnTo>
                  <a:pt x="292118" y="606425"/>
                </a:lnTo>
                <a:cubicBezTo>
                  <a:pt x="274247" y="588604"/>
                  <a:pt x="263525" y="564368"/>
                  <a:pt x="263525" y="540131"/>
                </a:cubicBezTo>
                <a:cubicBezTo>
                  <a:pt x="263525" y="492372"/>
                  <a:pt x="302125" y="451027"/>
                  <a:pt x="352877" y="444612"/>
                </a:cubicBezTo>
                <a:cubicBezTo>
                  <a:pt x="352877" y="444612"/>
                  <a:pt x="352877" y="444612"/>
                  <a:pt x="353592" y="444612"/>
                </a:cubicBezTo>
                <a:cubicBezTo>
                  <a:pt x="352877" y="448176"/>
                  <a:pt x="352877" y="451740"/>
                  <a:pt x="352877" y="455304"/>
                </a:cubicBezTo>
                <a:cubicBezTo>
                  <a:pt x="352877" y="485956"/>
                  <a:pt x="360740" y="515895"/>
                  <a:pt x="375036" y="542270"/>
                </a:cubicBezTo>
                <a:cubicBezTo>
                  <a:pt x="377895" y="547260"/>
                  <a:pt x="383614" y="550111"/>
                  <a:pt x="389333" y="550111"/>
                </a:cubicBezTo>
                <a:cubicBezTo>
                  <a:pt x="391477" y="550111"/>
                  <a:pt x="394336" y="549398"/>
                  <a:pt x="396481" y="548686"/>
                </a:cubicBezTo>
                <a:cubicBezTo>
                  <a:pt x="404344" y="544408"/>
                  <a:pt x="407203" y="534429"/>
                  <a:pt x="402914" y="527300"/>
                </a:cubicBezTo>
                <a:cubicBezTo>
                  <a:pt x="390762" y="505203"/>
                  <a:pt x="384329" y="480253"/>
                  <a:pt x="384329" y="455304"/>
                </a:cubicBezTo>
                <a:cubicBezTo>
                  <a:pt x="384329" y="431068"/>
                  <a:pt x="390047" y="408970"/>
                  <a:pt x="400055" y="389010"/>
                </a:cubicBezTo>
                <a:cubicBezTo>
                  <a:pt x="408632" y="374754"/>
                  <a:pt x="419355" y="361923"/>
                  <a:pt x="432221" y="351230"/>
                </a:cubicBezTo>
                <a:cubicBezTo>
                  <a:pt x="459384" y="329132"/>
                  <a:pt x="493695" y="317014"/>
                  <a:pt x="529436" y="317014"/>
                </a:cubicBezTo>
                <a:cubicBezTo>
                  <a:pt x="556599" y="317014"/>
                  <a:pt x="581617" y="323430"/>
                  <a:pt x="604492" y="336261"/>
                </a:cubicBezTo>
                <a:cubicBezTo>
                  <a:pt x="604492" y="336261"/>
                  <a:pt x="604492" y="336261"/>
                  <a:pt x="613784" y="340538"/>
                </a:cubicBezTo>
                <a:cubicBezTo>
                  <a:pt x="643091" y="364774"/>
                  <a:pt x="663821" y="400416"/>
                  <a:pt x="667395" y="441760"/>
                </a:cubicBezTo>
                <a:cubicBezTo>
                  <a:pt x="655243" y="438909"/>
                  <a:pt x="642377" y="438909"/>
                  <a:pt x="629510" y="440335"/>
                </a:cubicBezTo>
                <a:cubicBezTo>
                  <a:pt x="620932" y="441760"/>
                  <a:pt x="615214" y="449601"/>
                  <a:pt x="615929" y="458155"/>
                </a:cubicBezTo>
                <a:cubicBezTo>
                  <a:pt x="617358" y="466709"/>
                  <a:pt x="625221" y="472412"/>
                  <a:pt x="633799" y="471699"/>
                </a:cubicBezTo>
                <a:cubicBezTo>
                  <a:pt x="683836" y="465284"/>
                  <a:pt x="729584" y="500213"/>
                  <a:pt x="736017" y="550111"/>
                </a:cubicBezTo>
                <a:cubicBezTo>
                  <a:pt x="737447" y="557952"/>
                  <a:pt x="743880" y="563655"/>
                  <a:pt x="751743" y="563655"/>
                </a:cubicBezTo>
                <a:cubicBezTo>
                  <a:pt x="752458" y="563655"/>
                  <a:pt x="753173" y="563655"/>
                  <a:pt x="753888" y="563655"/>
                </a:cubicBezTo>
                <a:cubicBezTo>
                  <a:pt x="762465" y="562229"/>
                  <a:pt x="768184" y="554388"/>
                  <a:pt x="767469" y="545834"/>
                </a:cubicBezTo>
                <a:cubicBezTo>
                  <a:pt x="761751" y="503777"/>
                  <a:pt x="735302" y="469561"/>
                  <a:pt x="699562" y="451740"/>
                </a:cubicBezTo>
                <a:cubicBezTo>
                  <a:pt x="698847" y="406119"/>
                  <a:pt x="680262" y="364774"/>
                  <a:pt x="651669" y="333409"/>
                </a:cubicBezTo>
                <a:cubicBezTo>
                  <a:pt x="676688" y="319865"/>
                  <a:pt x="705995" y="312737"/>
                  <a:pt x="735302" y="312737"/>
                </a:cubicBezTo>
                <a:close/>
                <a:moveTo>
                  <a:pt x="735123" y="284162"/>
                </a:moveTo>
                <a:cubicBezTo>
                  <a:pt x="727277" y="284162"/>
                  <a:pt x="720144" y="284878"/>
                  <a:pt x="713011" y="285594"/>
                </a:cubicBezTo>
                <a:cubicBezTo>
                  <a:pt x="684480" y="288458"/>
                  <a:pt x="658088" y="297050"/>
                  <a:pt x="633837" y="310654"/>
                </a:cubicBezTo>
                <a:cubicBezTo>
                  <a:pt x="632410" y="311370"/>
                  <a:pt x="630983" y="312086"/>
                  <a:pt x="629557" y="312802"/>
                </a:cubicBezTo>
                <a:cubicBezTo>
                  <a:pt x="625277" y="313518"/>
                  <a:pt x="621711" y="312802"/>
                  <a:pt x="618144" y="310654"/>
                </a:cubicBezTo>
                <a:cubicBezTo>
                  <a:pt x="591753" y="296334"/>
                  <a:pt x="561082" y="288458"/>
                  <a:pt x="529697" y="288458"/>
                </a:cubicBezTo>
                <a:cubicBezTo>
                  <a:pt x="487613" y="288458"/>
                  <a:pt x="446956" y="302778"/>
                  <a:pt x="414858" y="329270"/>
                </a:cubicBezTo>
                <a:cubicBezTo>
                  <a:pt x="390607" y="349318"/>
                  <a:pt x="372061" y="376526"/>
                  <a:pt x="362789" y="405881"/>
                </a:cubicBezTo>
                <a:cubicBezTo>
                  <a:pt x="362075" y="408745"/>
                  <a:pt x="360649" y="410893"/>
                  <a:pt x="358509" y="412325"/>
                </a:cubicBezTo>
                <a:cubicBezTo>
                  <a:pt x="356369" y="414473"/>
                  <a:pt x="353516" y="416621"/>
                  <a:pt x="349949" y="416621"/>
                </a:cubicBezTo>
                <a:cubicBezTo>
                  <a:pt x="285041" y="425213"/>
                  <a:pt x="236537" y="478197"/>
                  <a:pt x="236537" y="540489"/>
                </a:cubicBezTo>
                <a:cubicBezTo>
                  <a:pt x="236537" y="567697"/>
                  <a:pt x="245810" y="594188"/>
                  <a:pt x="263642" y="615668"/>
                </a:cubicBezTo>
                <a:cubicBezTo>
                  <a:pt x="267922" y="620680"/>
                  <a:pt x="272915" y="626408"/>
                  <a:pt x="277908" y="630704"/>
                </a:cubicBezTo>
                <a:cubicBezTo>
                  <a:pt x="277908" y="630704"/>
                  <a:pt x="277908" y="630704"/>
                  <a:pt x="282187" y="635000"/>
                </a:cubicBezTo>
                <a:cubicBezTo>
                  <a:pt x="282187" y="635000"/>
                  <a:pt x="282187" y="635000"/>
                  <a:pt x="324271" y="635000"/>
                </a:cubicBezTo>
                <a:cubicBezTo>
                  <a:pt x="324271" y="635000"/>
                  <a:pt x="324271" y="635000"/>
                  <a:pt x="555375" y="635000"/>
                </a:cubicBezTo>
                <a:cubicBezTo>
                  <a:pt x="555375" y="635000"/>
                  <a:pt x="555375" y="635000"/>
                  <a:pt x="628844" y="635000"/>
                </a:cubicBezTo>
                <a:cubicBezTo>
                  <a:pt x="628844" y="635000"/>
                  <a:pt x="628844" y="635000"/>
                  <a:pt x="989052" y="635000"/>
                </a:cubicBezTo>
                <a:cubicBezTo>
                  <a:pt x="989052" y="635000"/>
                  <a:pt x="989052" y="635000"/>
                  <a:pt x="1006171" y="635000"/>
                </a:cubicBezTo>
                <a:cubicBezTo>
                  <a:pt x="1015444" y="633568"/>
                  <a:pt x="1024716" y="630704"/>
                  <a:pt x="1032563" y="625692"/>
                </a:cubicBezTo>
                <a:cubicBezTo>
                  <a:pt x="1051821" y="614952"/>
                  <a:pt x="1066800" y="595620"/>
                  <a:pt x="1066800" y="571277"/>
                </a:cubicBezTo>
                <a:cubicBezTo>
                  <a:pt x="1066800" y="506837"/>
                  <a:pt x="997612" y="426645"/>
                  <a:pt x="927710" y="409461"/>
                </a:cubicBezTo>
                <a:cubicBezTo>
                  <a:pt x="925570" y="408745"/>
                  <a:pt x="923430" y="407313"/>
                  <a:pt x="921290" y="405881"/>
                </a:cubicBezTo>
                <a:cubicBezTo>
                  <a:pt x="919864" y="404449"/>
                  <a:pt x="917724" y="402301"/>
                  <a:pt x="917011" y="400153"/>
                </a:cubicBezTo>
                <a:cubicBezTo>
                  <a:pt x="903458" y="369366"/>
                  <a:pt x="882060" y="342158"/>
                  <a:pt x="853528" y="322110"/>
                </a:cubicBezTo>
                <a:cubicBezTo>
                  <a:pt x="819291" y="297050"/>
                  <a:pt x="778633" y="284162"/>
                  <a:pt x="735123" y="284162"/>
                </a:cubicBezTo>
                <a:close/>
                <a:moveTo>
                  <a:pt x="735191" y="254000"/>
                </a:moveTo>
                <a:cubicBezTo>
                  <a:pt x="785162" y="254000"/>
                  <a:pt x="832277" y="268990"/>
                  <a:pt x="872254" y="297542"/>
                </a:cubicBezTo>
                <a:cubicBezTo>
                  <a:pt x="902950" y="319670"/>
                  <a:pt x="927222" y="348222"/>
                  <a:pt x="942927" y="381771"/>
                </a:cubicBezTo>
                <a:cubicBezTo>
                  <a:pt x="980048" y="392478"/>
                  <a:pt x="1017883" y="418175"/>
                  <a:pt x="1047866" y="452438"/>
                </a:cubicBezTo>
                <a:cubicBezTo>
                  <a:pt x="1079990" y="489555"/>
                  <a:pt x="1098550" y="533097"/>
                  <a:pt x="1098550" y="571643"/>
                </a:cubicBezTo>
                <a:cubicBezTo>
                  <a:pt x="1098550" y="605905"/>
                  <a:pt x="1079990" y="633030"/>
                  <a:pt x="1055004" y="649448"/>
                </a:cubicBezTo>
                <a:cubicBezTo>
                  <a:pt x="1082131" y="665865"/>
                  <a:pt x="1098550" y="693703"/>
                  <a:pt x="1098550" y="727966"/>
                </a:cubicBezTo>
                <a:cubicBezTo>
                  <a:pt x="1098550" y="770080"/>
                  <a:pt x="1076420" y="817905"/>
                  <a:pt x="1038585" y="857878"/>
                </a:cubicBezTo>
                <a:cubicBezTo>
                  <a:pt x="1010031" y="887858"/>
                  <a:pt x="976479" y="909986"/>
                  <a:pt x="942927" y="919979"/>
                </a:cubicBezTo>
                <a:cubicBezTo>
                  <a:pt x="927222" y="952814"/>
                  <a:pt x="902950" y="982080"/>
                  <a:pt x="872254" y="1003494"/>
                </a:cubicBezTo>
                <a:cubicBezTo>
                  <a:pt x="832277" y="1032046"/>
                  <a:pt x="785162" y="1047750"/>
                  <a:pt x="735191" y="1047750"/>
                </a:cubicBezTo>
                <a:cubicBezTo>
                  <a:pt x="696642" y="1047750"/>
                  <a:pt x="658807" y="1038471"/>
                  <a:pt x="625969" y="1020626"/>
                </a:cubicBezTo>
                <a:cubicBezTo>
                  <a:pt x="596701" y="1035615"/>
                  <a:pt x="563149" y="1043467"/>
                  <a:pt x="529597" y="1043467"/>
                </a:cubicBezTo>
                <a:cubicBezTo>
                  <a:pt x="480340" y="1043467"/>
                  <a:pt x="432511" y="1026336"/>
                  <a:pt x="394676" y="995642"/>
                </a:cubicBezTo>
                <a:cubicBezTo>
                  <a:pt x="368263" y="973515"/>
                  <a:pt x="347561" y="944962"/>
                  <a:pt x="335425" y="913555"/>
                </a:cubicBezTo>
                <a:cubicBezTo>
                  <a:pt x="260469" y="899279"/>
                  <a:pt x="204787" y="835037"/>
                  <a:pt x="204787" y="760801"/>
                </a:cubicBezTo>
                <a:cubicBezTo>
                  <a:pt x="204787" y="719400"/>
                  <a:pt x="221920" y="680141"/>
                  <a:pt x="252616" y="650875"/>
                </a:cubicBezTo>
                <a:cubicBezTo>
                  <a:pt x="221920" y="621609"/>
                  <a:pt x="204787" y="581636"/>
                  <a:pt x="204787" y="540949"/>
                </a:cubicBezTo>
                <a:cubicBezTo>
                  <a:pt x="204787" y="466000"/>
                  <a:pt x="260469" y="402471"/>
                  <a:pt x="335425" y="388195"/>
                </a:cubicBezTo>
                <a:cubicBezTo>
                  <a:pt x="347561" y="356074"/>
                  <a:pt x="368263" y="328236"/>
                  <a:pt x="394676" y="306108"/>
                </a:cubicBezTo>
                <a:cubicBezTo>
                  <a:pt x="432511" y="274700"/>
                  <a:pt x="480340" y="258283"/>
                  <a:pt x="529597" y="258283"/>
                </a:cubicBezTo>
                <a:cubicBezTo>
                  <a:pt x="563149" y="258283"/>
                  <a:pt x="596701" y="266135"/>
                  <a:pt x="625969" y="280411"/>
                </a:cubicBezTo>
                <a:cubicBezTo>
                  <a:pt x="658807" y="263280"/>
                  <a:pt x="696642" y="254000"/>
                  <a:pt x="735191" y="254000"/>
                </a:cubicBezTo>
                <a:close/>
                <a:moveTo>
                  <a:pt x="965440" y="85579"/>
                </a:moveTo>
                <a:cubicBezTo>
                  <a:pt x="969268" y="84510"/>
                  <a:pt x="973540" y="85045"/>
                  <a:pt x="977456" y="87539"/>
                </a:cubicBezTo>
                <a:cubicBezTo>
                  <a:pt x="984577" y="91816"/>
                  <a:pt x="987425" y="101082"/>
                  <a:pt x="983152" y="108922"/>
                </a:cubicBezTo>
                <a:cubicBezTo>
                  <a:pt x="983152" y="108922"/>
                  <a:pt x="983152" y="108922"/>
                  <a:pt x="921917" y="214410"/>
                </a:cubicBezTo>
                <a:cubicBezTo>
                  <a:pt x="919069" y="219399"/>
                  <a:pt x="914084" y="222250"/>
                  <a:pt x="908388" y="222250"/>
                </a:cubicBezTo>
                <a:cubicBezTo>
                  <a:pt x="906252" y="222250"/>
                  <a:pt x="903404" y="221537"/>
                  <a:pt x="900555" y="220112"/>
                </a:cubicBezTo>
                <a:cubicBezTo>
                  <a:pt x="893435" y="215835"/>
                  <a:pt x="890587" y="205857"/>
                  <a:pt x="894859" y="198729"/>
                </a:cubicBezTo>
                <a:cubicBezTo>
                  <a:pt x="894859" y="198729"/>
                  <a:pt x="894859" y="198729"/>
                  <a:pt x="956095" y="93241"/>
                </a:cubicBezTo>
                <a:cubicBezTo>
                  <a:pt x="958231" y="89321"/>
                  <a:pt x="961613" y="86648"/>
                  <a:pt x="965440" y="85579"/>
                </a:cubicBezTo>
                <a:close/>
                <a:moveTo>
                  <a:pt x="341312" y="83813"/>
                </a:moveTo>
                <a:cubicBezTo>
                  <a:pt x="345192" y="84882"/>
                  <a:pt x="348720" y="87377"/>
                  <a:pt x="350837" y="90940"/>
                </a:cubicBezTo>
                <a:cubicBezTo>
                  <a:pt x="350837" y="90940"/>
                  <a:pt x="350837" y="90940"/>
                  <a:pt x="410103" y="197141"/>
                </a:cubicBezTo>
                <a:cubicBezTo>
                  <a:pt x="414337" y="204269"/>
                  <a:pt x="412220" y="214247"/>
                  <a:pt x="404459" y="218524"/>
                </a:cubicBezTo>
                <a:cubicBezTo>
                  <a:pt x="402342" y="219949"/>
                  <a:pt x="399520" y="220662"/>
                  <a:pt x="396698" y="220662"/>
                </a:cubicBezTo>
                <a:cubicBezTo>
                  <a:pt x="391759" y="220662"/>
                  <a:pt x="386115" y="217811"/>
                  <a:pt x="383292" y="212109"/>
                </a:cubicBezTo>
                <a:lnTo>
                  <a:pt x="323320" y="106621"/>
                </a:lnTo>
                <a:cubicBezTo>
                  <a:pt x="319087" y="98781"/>
                  <a:pt x="321909" y="89515"/>
                  <a:pt x="329670" y="85238"/>
                </a:cubicBezTo>
                <a:cubicBezTo>
                  <a:pt x="333198" y="83100"/>
                  <a:pt x="337431" y="82744"/>
                  <a:pt x="341312" y="83813"/>
                </a:cubicBezTo>
                <a:close/>
                <a:moveTo>
                  <a:pt x="651668" y="0"/>
                </a:moveTo>
                <a:cubicBezTo>
                  <a:pt x="659895" y="0"/>
                  <a:pt x="666750" y="7162"/>
                  <a:pt x="666750" y="15757"/>
                </a:cubicBezTo>
                <a:cubicBezTo>
                  <a:pt x="666750" y="15757"/>
                  <a:pt x="666750" y="15757"/>
                  <a:pt x="666750" y="138231"/>
                </a:cubicBezTo>
                <a:cubicBezTo>
                  <a:pt x="666750" y="146826"/>
                  <a:pt x="659895" y="153988"/>
                  <a:pt x="651668" y="153988"/>
                </a:cubicBezTo>
                <a:cubicBezTo>
                  <a:pt x="643442" y="153988"/>
                  <a:pt x="636587" y="146826"/>
                  <a:pt x="636587" y="138231"/>
                </a:cubicBezTo>
                <a:cubicBezTo>
                  <a:pt x="636587" y="138231"/>
                  <a:pt x="636587" y="138231"/>
                  <a:pt x="636587" y="15757"/>
                </a:cubicBezTo>
                <a:cubicBezTo>
                  <a:pt x="636587" y="7162"/>
                  <a:pt x="643442" y="0"/>
                  <a:pt x="65166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8872" tIns="59436" rIns="118872" bIns="59436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950" dirty="0"/>
          </a:p>
        </p:txBody>
      </p:sp>
      <p:sp>
        <p:nvSpPr>
          <p:cNvPr id="385" name="Rectangle 384"/>
          <p:cNvSpPr/>
          <p:nvPr/>
        </p:nvSpPr>
        <p:spPr>
          <a:xfrm>
            <a:off x="952448" y="4149397"/>
            <a:ext cx="8544168" cy="234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rgbClr val="0166B6">
                  <a:alpha val="15000"/>
                </a:srgbClr>
              </a:gs>
            </a:gsLst>
            <a:lin ang="10800000" scaled="0"/>
          </a:gradFill>
          <a:ln w="19050">
            <a:noFill/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dirty="0">
                <a:latin typeface="Calibri" panose="020F0502020204030204" pitchFamily="34" charset="0"/>
              </a:rPr>
              <a:t>Sztuczna Inteligencja</a:t>
            </a:r>
            <a:endParaRPr lang="en-US" altLang="pl-PL" sz="1083" b="1" dirty="0">
              <a:latin typeface="Calibri" panose="020F0502020204030204" pitchFamily="34" charset="0"/>
            </a:endParaRPr>
          </a:p>
        </p:txBody>
      </p:sp>
      <p:sp>
        <p:nvSpPr>
          <p:cNvPr id="390" name="Rectangle 389"/>
          <p:cNvSpPr/>
          <p:nvPr/>
        </p:nvSpPr>
        <p:spPr>
          <a:xfrm>
            <a:off x="531485" y="4492736"/>
            <a:ext cx="433729" cy="242823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pl-PL" sz="1517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397" name="AutoShape 3"/>
          <p:cNvSpPr>
            <a:spLocks noChangeAspect="1" noChangeArrowheads="1" noTextEdit="1"/>
          </p:cNvSpPr>
          <p:nvPr/>
        </p:nvSpPr>
        <p:spPr bwMode="auto">
          <a:xfrm>
            <a:off x="611057" y="4504381"/>
            <a:ext cx="263977" cy="263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950" dirty="0"/>
          </a:p>
        </p:txBody>
      </p:sp>
      <p:sp>
        <p:nvSpPr>
          <p:cNvPr id="398" name="Freeform 397"/>
          <p:cNvSpPr>
            <a:spLocks/>
          </p:cNvSpPr>
          <p:nvPr/>
        </p:nvSpPr>
        <p:spPr bwMode="auto">
          <a:xfrm>
            <a:off x="634117" y="4512726"/>
            <a:ext cx="217857" cy="209079"/>
          </a:xfrm>
          <a:custGeom>
            <a:avLst/>
            <a:gdLst>
              <a:gd name="connsiteX0" fmla="*/ 813233 w 1357313"/>
              <a:gd name="connsiteY0" fmla="*/ 999411 h 1302624"/>
              <a:gd name="connsiteX1" fmla="*/ 793750 w 1357313"/>
              <a:gd name="connsiteY1" fmla="*/ 1052487 h 1302624"/>
              <a:gd name="connsiteX2" fmla="*/ 754062 w 1357313"/>
              <a:gd name="connsiteY2" fmla="*/ 1116886 h 1302624"/>
              <a:gd name="connsiteX3" fmla="*/ 904875 w 1357313"/>
              <a:gd name="connsiteY3" fmla="*/ 1032672 h 1302624"/>
              <a:gd name="connsiteX4" fmla="*/ 813233 w 1357313"/>
              <a:gd name="connsiteY4" fmla="*/ 999411 h 1302624"/>
              <a:gd name="connsiteX5" fmla="*/ 542833 w 1357313"/>
              <a:gd name="connsiteY5" fmla="*/ 999411 h 1302624"/>
              <a:gd name="connsiteX6" fmla="*/ 452437 w 1357313"/>
              <a:gd name="connsiteY6" fmla="*/ 1032672 h 1302624"/>
              <a:gd name="connsiteX7" fmla="*/ 601662 w 1357313"/>
              <a:gd name="connsiteY7" fmla="*/ 1116886 h 1302624"/>
              <a:gd name="connsiteX8" fmla="*/ 562204 w 1357313"/>
              <a:gd name="connsiteY8" fmla="*/ 1052487 h 1302624"/>
              <a:gd name="connsiteX9" fmla="*/ 542833 w 1357313"/>
              <a:gd name="connsiteY9" fmla="*/ 999411 h 1302624"/>
              <a:gd name="connsiteX10" fmla="*/ 678220 w 1357313"/>
              <a:gd name="connsiteY10" fmla="*/ 983536 h 1302624"/>
              <a:gd name="connsiteX11" fmla="*/ 573087 w 1357313"/>
              <a:gd name="connsiteY11" fmla="*/ 992777 h 1302624"/>
              <a:gd name="connsiteX12" fmla="*/ 678220 w 1357313"/>
              <a:gd name="connsiteY12" fmla="*/ 1126411 h 1302624"/>
              <a:gd name="connsiteX13" fmla="*/ 782637 w 1357313"/>
              <a:gd name="connsiteY13" fmla="*/ 992777 h 1302624"/>
              <a:gd name="connsiteX14" fmla="*/ 678220 w 1357313"/>
              <a:gd name="connsiteY14" fmla="*/ 983536 h 1302624"/>
              <a:gd name="connsiteX15" fmla="*/ 363537 w 1357313"/>
              <a:gd name="connsiteY15" fmla="*/ 827961 h 1302624"/>
              <a:gd name="connsiteX16" fmla="*/ 431121 w 1357313"/>
              <a:gd name="connsiteY16" fmla="*/ 1007349 h 1302624"/>
              <a:gd name="connsiteX17" fmla="*/ 534987 w 1357313"/>
              <a:gd name="connsiteY17" fmla="*/ 968197 h 1302624"/>
              <a:gd name="connsiteX18" fmla="*/ 518625 w 1357313"/>
              <a:gd name="connsiteY18" fmla="*/ 827961 h 1302624"/>
              <a:gd name="connsiteX19" fmla="*/ 363537 w 1357313"/>
              <a:gd name="connsiteY19" fmla="*/ 827961 h 1302624"/>
              <a:gd name="connsiteX20" fmla="*/ 823119 w 1357313"/>
              <a:gd name="connsiteY20" fmla="*/ 761286 h 1302624"/>
              <a:gd name="connsiteX21" fmla="*/ 873126 w 1357313"/>
              <a:gd name="connsiteY21" fmla="*/ 812086 h 1302624"/>
              <a:gd name="connsiteX22" fmla="*/ 823119 w 1357313"/>
              <a:gd name="connsiteY22" fmla="*/ 862886 h 1302624"/>
              <a:gd name="connsiteX23" fmla="*/ 773112 w 1357313"/>
              <a:gd name="connsiteY23" fmla="*/ 812086 h 1302624"/>
              <a:gd name="connsiteX24" fmla="*/ 823119 w 1357313"/>
              <a:gd name="connsiteY24" fmla="*/ 761286 h 1302624"/>
              <a:gd name="connsiteX25" fmla="*/ 554832 w 1357313"/>
              <a:gd name="connsiteY25" fmla="*/ 596186 h 1302624"/>
              <a:gd name="connsiteX26" fmla="*/ 604839 w 1357313"/>
              <a:gd name="connsiteY26" fmla="*/ 646193 h 1302624"/>
              <a:gd name="connsiteX27" fmla="*/ 554832 w 1357313"/>
              <a:gd name="connsiteY27" fmla="*/ 696200 h 1302624"/>
              <a:gd name="connsiteX28" fmla="*/ 504825 w 1357313"/>
              <a:gd name="connsiteY28" fmla="*/ 646193 h 1302624"/>
              <a:gd name="connsiteX29" fmla="*/ 554832 w 1357313"/>
              <a:gd name="connsiteY29" fmla="*/ 596186 h 1302624"/>
              <a:gd name="connsiteX30" fmla="*/ 258844 w 1357313"/>
              <a:gd name="connsiteY30" fmla="*/ 558086 h 1302624"/>
              <a:gd name="connsiteX31" fmla="*/ 285305 w 1357313"/>
              <a:gd name="connsiteY31" fmla="*/ 573791 h 1302624"/>
              <a:gd name="connsiteX32" fmla="*/ 218793 w 1357313"/>
              <a:gd name="connsiteY32" fmla="*/ 812214 h 1302624"/>
              <a:gd name="connsiteX33" fmla="*/ 678657 w 1357313"/>
              <a:gd name="connsiteY33" fmla="*/ 1271215 h 1302624"/>
              <a:gd name="connsiteX34" fmla="*/ 1138520 w 1357313"/>
              <a:gd name="connsiteY34" fmla="*/ 812214 h 1302624"/>
              <a:gd name="connsiteX35" fmla="*/ 1072008 w 1357313"/>
              <a:gd name="connsiteY35" fmla="*/ 573791 h 1302624"/>
              <a:gd name="connsiteX36" fmla="*/ 1098470 w 1357313"/>
              <a:gd name="connsiteY36" fmla="*/ 558086 h 1302624"/>
              <a:gd name="connsiteX37" fmla="*/ 1169988 w 1357313"/>
              <a:gd name="connsiteY37" fmla="*/ 812214 h 1302624"/>
              <a:gd name="connsiteX38" fmla="*/ 678657 w 1357313"/>
              <a:gd name="connsiteY38" fmla="*/ 1302624 h 1302624"/>
              <a:gd name="connsiteX39" fmla="*/ 187325 w 1357313"/>
              <a:gd name="connsiteY39" fmla="*/ 812214 h 1302624"/>
              <a:gd name="connsiteX40" fmla="*/ 258844 w 1357313"/>
              <a:gd name="connsiteY40" fmla="*/ 558086 h 1302624"/>
              <a:gd name="connsiteX41" fmla="*/ 754062 w 1357313"/>
              <a:gd name="connsiteY41" fmla="*/ 505698 h 1302624"/>
              <a:gd name="connsiteX42" fmla="*/ 793750 w 1357313"/>
              <a:gd name="connsiteY42" fmla="*/ 571290 h 1302624"/>
              <a:gd name="connsiteX43" fmla="*/ 813233 w 1357313"/>
              <a:gd name="connsiteY43" fmla="*/ 624761 h 1302624"/>
              <a:gd name="connsiteX44" fmla="*/ 904875 w 1357313"/>
              <a:gd name="connsiteY44" fmla="*/ 591252 h 1302624"/>
              <a:gd name="connsiteX45" fmla="*/ 754062 w 1357313"/>
              <a:gd name="connsiteY45" fmla="*/ 505698 h 1302624"/>
              <a:gd name="connsiteX46" fmla="*/ 678656 w 1357313"/>
              <a:gd name="connsiteY46" fmla="*/ 496173 h 1302624"/>
              <a:gd name="connsiteX47" fmla="*/ 595053 w 1357313"/>
              <a:gd name="connsiteY47" fmla="*/ 574706 h 1302624"/>
              <a:gd name="connsiteX48" fmla="*/ 565042 w 1357313"/>
              <a:gd name="connsiteY48" fmla="*/ 564711 h 1302624"/>
              <a:gd name="connsiteX49" fmla="*/ 601484 w 1357313"/>
              <a:gd name="connsiteY49" fmla="*/ 505454 h 1302624"/>
              <a:gd name="connsiteX50" fmla="*/ 452857 w 1357313"/>
              <a:gd name="connsiteY50" fmla="*/ 591126 h 1302624"/>
              <a:gd name="connsiteX51" fmla="*/ 483583 w 1357313"/>
              <a:gd name="connsiteY51" fmla="*/ 605405 h 1302624"/>
              <a:gd name="connsiteX52" fmla="*/ 473579 w 1357313"/>
              <a:gd name="connsiteY52" fmla="*/ 635390 h 1302624"/>
              <a:gd name="connsiteX53" fmla="*/ 431420 w 1357313"/>
              <a:gd name="connsiteY53" fmla="*/ 615400 h 1302624"/>
              <a:gd name="connsiteX54" fmla="*/ 363537 w 1357313"/>
              <a:gd name="connsiteY54" fmla="*/ 796024 h 1302624"/>
              <a:gd name="connsiteX55" fmla="*/ 519310 w 1357313"/>
              <a:gd name="connsiteY55" fmla="*/ 796024 h 1302624"/>
              <a:gd name="connsiteX56" fmla="*/ 524312 w 1357313"/>
              <a:gd name="connsiteY56" fmla="*/ 721062 h 1302624"/>
              <a:gd name="connsiteX57" fmla="*/ 554324 w 1357313"/>
              <a:gd name="connsiteY57" fmla="*/ 727487 h 1302624"/>
              <a:gd name="connsiteX58" fmla="*/ 555038 w 1357313"/>
              <a:gd name="connsiteY58" fmla="*/ 727487 h 1302624"/>
              <a:gd name="connsiteX59" fmla="*/ 550751 w 1357313"/>
              <a:gd name="connsiteY59" fmla="*/ 796024 h 1302624"/>
              <a:gd name="connsiteX60" fmla="*/ 742252 w 1357313"/>
              <a:gd name="connsiteY60" fmla="*/ 796024 h 1302624"/>
              <a:gd name="connsiteX61" fmla="*/ 740823 w 1357313"/>
              <a:gd name="connsiteY61" fmla="*/ 811731 h 1302624"/>
              <a:gd name="connsiteX62" fmla="*/ 742252 w 1357313"/>
              <a:gd name="connsiteY62" fmla="*/ 827437 h 1302624"/>
              <a:gd name="connsiteX63" fmla="*/ 550751 w 1357313"/>
              <a:gd name="connsiteY63" fmla="*/ 827437 h 1302624"/>
              <a:gd name="connsiteX64" fmla="*/ 565756 w 1357313"/>
              <a:gd name="connsiteY64" fmla="*/ 960943 h 1302624"/>
              <a:gd name="connsiteX65" fmla="*/ 678656 w 1357313"/>
              <a:gd name="connsiteY65" fmla="*/ 950948 h 1302624"/>
              <a:gd name="connsiteX66" fmla="*/ 790841 w 1357313"/>
              <a:gd name="connsiteY66" fmla="*/ 960943 h 1302624"/>
              <a:gd name="connsiteX67" fmla="*/ 802989 w 1357313"/>
              <a:gd name="connsiteY67" fmla="*/ 890263 h 1302624"/>
              <a:gd name="connsiteX68" fmla="*/ 822282 w 1357313"/>
              <a:gd name="connsiteY68" fmla="*/ 893119 h 1302624"/>
              <a:gd name="connsiteX69" fmla="*/ 833715 w 1357313"/>
              <a:gd name="connsiteY69" fmla="*/ 892405 h 1302624"/>
              <a:gd name="connsiteX70" fmla="*/ 821567 w 1357313"/>
              <a:gd name="connsiteY70" fmla="*/ 968082 h 1302624"/>
              <a:gd name="connsiteX71" fmla="*/ 925892 w 1357313"/>
              <a:gd name="connsiteY71" fmla="*/ 1007348 h 1302624"/>
              <a:gd name="connsiteX72" fmla="*/ 993775 w 1357313"/>
              <a:gd name="connsiteY72" fmla="*/ 827437 h 1302624"/>
              <a:gd name="connsiteX73" fmla="*/ 902312 w 1357313"/>
              <a:gd name="connsiteY73" fmla="*/ 827437 h 1302624"/>
              <a:gd name="connsiteX74" fmla="*/ 904456 w 1357313"/>
              <a:gd name="connsiteY74" fmla="*/ 811731 h 1302624"/>
              <a:gd name="connsiteX75" fmla="*/ 902312 w 1357313"/>
              <a:gd name="connsiteY75" fmla="*/ 796024 h 1302624"/>
              <a:gd name="connsiteX76" fmla="*/ 993775 w 1357313"/>
              <a:gd name="connsiteY76" fmla="*/ 796024 h 1302624"/>
              <a:gd name="connsiteX77" fmla="*/ 925892 w 1357313"/>
              <a:gd name="connsiteY77" fmla="*/ 615400 h 1302624"/>
              <a:gd name="connsiteX78" fmla="*/ 821567 w 1357313"/>
              <a:gd name="connsiteY78" fmla="*/ 655380 h 1302624"/>
              <a:gd name="connsiteX79" fmla="*/ 833715 w 1357313"/>
              <a:gd name="connsiteY79" fmla="*/ 731057 h 1302624"/>
              <a:gd name="connsiteX80" fmla="*/ 822282 w 1357313"/>
              <a:gd name="connsiteY80" fmla="*/ 729629 h 1302624"/>
              <a:gd name="connsiteX81" fmla="*/ 802989 w 1357313"/>
              <a:gd name="connsiteY81" fmla="*/ 732484 h 1302624"/>
              <a:gd name="connsiteX82" fmla="*/ 790841 w 1357313"/>
              <a:gd name="connsiteY82" fmla="*/ 661805 h 1302624"/>
              <a:gd name="connsiteX83" fmla="*/ 678656 w 1357313"/>
              <a:gd name="connsiteY83" fmla="*/ 671800 h 1302624"/>
              <a:gd name="connsiteX84" fmla="*/ 632210 w 1357313"/>
              <a:gd name="connsiteY84" fmla="*/ 670372 h 1302624"/>
              <a:gd name="connsiteX85" fmla="*/ 635783 w 1357313"/>
              <a:gd name="connsiteY85" fmla="*/ 646099 h 1302624"/>
              <a:gd name="connsiteX86" fmla="*/ 635783 w 1357313"/>
              <a:gd name="connsiteY86" fmla="*/ 638959 h 1302624"/>
              <a:gd name="connsiteX87" fmla="*/ 678656 w 1357313"/>
              <a:gd name="connsiteY87" fmla="*/ 640387 h 1302624"/>
              <a:gd name="connsiteX88" fmla="*/ 782981 w 1357313"/>
              <a:gd name="connsiteY88" fmla="*/ 631106 h 1302624"/>
              <a:gd name="connsiteX89" fmla="*/ 678656 w 1357313"/>
              <a:gd name="connsiteY89" fmla="*/ 496173 h 1302624"/>
              <a:gd name="connsiteX90" fmla="*/ 678221 w 1357313"/>
              <a:gd name="connsiteY90" fmla="*/ 466011 h 1302624"/>
              <a:gd name="connsiteX91" fmla="*/ 940310 w 1357313"/>
              <a:gd name="connsiteY91" fmla="*/ 585175 h 1302624"/>
              <a:gd name="connsiteX92" fmla="*/ 942459 w 1357313"/>
              <a:gd name="connsiteY92" fmla="*/ 588029 h 1302624"/>
              <a:gd name="connsiteX93" fmla="*/ 1025525 w 1357313"/>
              <a:gd name="connsiteY93" fmla="*/ 812800 h 1302624"/>
              <a:gd name="connsiteX94" fmla="*/ 942459 w 1357313"/>
              <a:gd name="connsiteY94" fmla="*/ 1036857 h 1302624"/>
              <a:gd name="connsiteX95" fmla="*/ 940310 w 1357313"/>
              <a:gd name="connsiteY95" fmla="*/ 1040424 h 1302624"/>
              <a:gd name="connsiteX96" fmla="*/ 678221 w 1357313"/>
              <a:gd name="connsiteY96" fmla="*/ 1158161 h 1302624"/>
              <a:gd name="connsiteX97" fmla="*/ 416847 w 1357313"/>
              <a:gd name="connsiteY97" fmla="*/ 1040424 h 1302624"/>
              <a:gd name="connsiteX98" fmla="*/ 413267 w 1357313"/>
              <a:gd name="connsiteY98" fmla="*/ 1036857 h 1302624"/>
              <a:gd name="connsiteX99" fmla="*/ 330200 w 1357313"/>
              <a:gd name="connsiteY99" fmla="*/ 812800 h 1302624"/>
              <a:gd name="connsiteX100" fmla="*/ 413267 w 1357313"/>
              <a:gd name="connsiteY100" fmla="*/ 588029 h 1302624"/>
              <a:gd name="connsiteX101" fmla="*/ 416131 w 1357313"/>
              <a:gd name="connsiteY101" fmla="*/ 584462 h 1302624"/>
              <a:gd name="connsiteX102" fmla="*/ 678221 w 1357313"/>
              <a:gd name="connsiteY102" fmla="*/ 466011 h 1302624"/>
              <a:gd name="connsiteX103" fmla="*/ 1233488 w 1357313"/>
              <a:gd name="connsiteY103" fmla="*/ 354886 h 1302624"/>
              <a:gd name="connsiteX104" fmla="*/ 1295400 w 1357313"/>
              <a:gd name="connsiteY104" fmla="*/ 389851 h 1302624"/>
              <a:gd name="connsiteX105" fmla="*/ 1295400 w 1357313"/>
              <a:gd name="connsiteY105" fmla="*/ 461209 h 1302624"/>
              <a:gd name="connsiteX106" fmla="*/ 1233488 w 1357313"/>
              <a:gd name="connsiteY106" fmla="*/ 496174 h 1302624"/>
              <a:gd name="connsiteX107" fmla="*/ 1171575 w 1357313"/>
              <a:gd name="connsiteY107" fmla="*/ 461209 h 1302624"/>
              <a:gd name="connsiteX108" fmla="*/ 1171575 w 1357313"/>
              <a:gd name="connsiteY108" fmla="*/ 389851 h 1302624"/>
              <a:gd name="connsiteX109" fmla="*/ 1233488 w 1357313"/>
              <a:gd name="connsiteY109" fmla="*/ 354886 h 1302624"/>
              <a:gd name="connsiteX110" fmla="*/ 126206 w 1357313"/>
              <a:gd name="connsiteY110" fmla="*/ 354886 h 1302624"/>
              <a:gd name="connsiteX111" fmla="*/ 187325 w 1357313"/>
              <a:gd name="connsiteY111" fmla="*/ 389851 h 1302624"/>
              <a:gd name="connsiteX112" fmla="*/ 187325 w 1357313"/>
              <a:gd name="connsiteY112" fmla="*/ 461209 h 1302624"/>
              <a:gd name="connsiteX113" fmla="*/ 126206 w 1357313"/>
              <a:gd name="connsiteY113" fmla="*/ 496174 h 1302624"/>
              <a:gd name="connsiteX114" fmla="*/ 65087 w 1357313"/>
              <a:gd name="connsiteY114" fmla="*/ 461209 h 1302624"/>
              <a:gd name="connsiteX115" fmla="*/ 65087 w 1357313"/>
              <a:gd name="connsiteY115" fmla="*/ 389851 h 1302624"/>
              <a:gd name="connsiteX116" fmla="*/ 126206 w 1357313"/>
              <a:gd name="connsiteY116" fmla="*/ 354886 h 1302624"/>
              <a:gd name="connsiteX117" fmla="*/ 725487 w 1357313"/>
              <a:gd name="connsiteY117" fmla="*/ 323136 h 1302624"/>
              <a:gd name="connsiteX118" fmla="*/ 1041400 w 1357313"/>
              <a:gd name="connsiteY118" fmla="*/ 482874 h 1302624"/>
              <a:gd name="connsiteX119" fmla="*/ 1013526 w 1357313"/>
              <a:gd name="connsiteY119" fmla="*/ 499349 h 1302624"/>
              <a:gd name="connsiteX120" fmla="*/ 725487 w 1357313"/>
              <a:gd name="connsiteY120" fmla="*/ 354654 h 1302624"/>
              <a:gd name="connsiteX121" fmla="*/ 725487 w 1357313"/>
              <a:gd name="connsiteY121" fmla="*/ 323136 h 1302624"/>
              <a:gd name="connsiteX122" fmla="*/ 631825 w 1357313"/>
              <a:gd name="connsiteY122" fmla="*/ 323136 h 1302624"/>
              <a:gd name="connsiteX123" fmla="*/ 631825 w 1357313"/>
              <a:gd name="connsiteY123" fmla="*/ 354497 h 1302624"/>
              <a:gd name="connsiteX124" fmla="*/ 343787 w 1357313"/>
              <a:gd name="connsiteY124" fmla="*/ 497761 h 1302624"/>
              <a:gd name="connsiteX125" fmla="*/ 315912 w 1357313"/>
              <a:gd name="connsiteY125" fmla="*/ 481368 h 1302624"/>
              <a:gd name="connsiteX126" fmla="*/ 631825 w 1357313"/>
              <a:gd name="connsiteY126" fmla="*/ 323136 h 1302624"/>
              <a:gd name="connsiteX127" fmla="*/ 1233843 w 1357313"/>
              <a:gd name="connsiteY127" fmla="*/ 318373 h 1302624"/>
              <a:gd name="connsiteX128" fmla="*/ 1141412 w 1357313"/>
              <a:gd name="connsiteY128" fmla="*/ 371414 h 1302624"/>
              <a:gd name="connsiteX129" fmla="*/ 1141412 w 1357313"/>
              <a:gd name="connsiteY129" fmla="*/ 478929 h 1302624"/>
              <a:gd name="connsiteX130" fmla="*/ 1233843 w 1357313"/>
              <a:gd name="connsiteY130" fmla="*/ 532686 h 1302624"/>
              <a:gd name="connsiteX131" fmla="*/ 1325562 w 1357313"/>
              <a:gd name="connsiteY131" fmla="*/ 478929 h 1302624"/>
              <a:gd name="connsiteX132" fmla="*/ 1325562 w 1357313"/>
              <a:gd name="connsiteY132" fmla="*/ 371414 h 1302624"/>
              <a:gd name="connsiteX133" fmla="*/ 1233843 w 1357313"/>
              <a:gd name="connsiteY133" fmla="*/ 318373 h 1302624"/>
              <a:gd name="connsiteX134" fmla="*/ 124619 w 1357313"/>
              <a:gd name="connsiteY134" fmla="*/ 318373 h 1302624"/>
              <a:gd name="connsiteX135" fmla="*/ 31750 w 1357313"/>
              <a:gd name="connsiteY135" fmla="*/ 371414 h 1302624"/>
              <a:gd name="connsiteX136" fmla="*/ 31750 w 1357313"/>
              <a:gd name="connsiteY136" fmla="*/ 478929 h 1302624"/>
              <a:gd name="connsiteX137" fmla="*/ 124619 w 1357313"/>
              <a:gd name="connsiteY137" fmla="*/ 532686 h 1302624"/>
              <a:gd name="connsiteX138" fmla="*/ 217488 w 1357313"/>
              <a:gd name="connsiteY138" fmla="*/ 478929 h 1302624"/>
              <a:gd name="connsiteX139" fmla="*/ 217488 w 1357313"/>
              <a:gd name="connsiteY139" fmla="*/ 371414 h 1302624"/>
              <a:gd name="connsiteX140" fmla="*/ 124619 w 1357313"/>
              <a:gd name="connsiteY140" fmla="*/ 318373 h 1302624"/>
              <a:gd name="connsiteX141" fmla="*/ 1225993 w 1357313"/>
              <a:gd name="connsiteY141" fmla="*/ 287894 h 1302624"/>
              <a:gd name="connsiteX142" fmla="*/ 1241694 w 1357313"/>
              <a:gd name="connsiteY142" fmla="*/ 287894 h 1302624"/>
              <a:gd name="connsiteX143" fmla="*/ 1349463 w 1357313"/>
              <a:gd name="connsiteY143" fmla="*/ 349330 h 1302624"/>
              <a:gd name="connsiteX144" fmla="*/ 1357313 w 1357313"/>
              <a:gd name="connsiteY144" fmla="*/ 362903 h 1302624"/>
              <a:gd name="connsiteX145" fmla="*/ 1357313 w 1357313"/>
              <a:gd name="connsiteY145" fmla="*/ 488633 h 1302624"/>
              <a:gd name="connsiteX146" fmla="*/ 1349463 w 1357313"/>
              <a:gd name="connsiteY146" fmla="*/ 502206 h 1302624"/>
              <a:gd name="connsiteX147" fmla="*/ 1241694 w 1357313"/>
              <a:gd name="connsiteY147" fmla="*/ 565071 h 1302624"/>
              <a:gd name="connsiteX148" fmla="*/ 1233844 w 1357313"/>
              <a:gd name="connsiteY148" fmla="*/ 567214 h 1302624"/>
              <a:gd name="connsiteX149" fmla="*/ 1225993 w 1357313"/>
              <a:gd name="connsiteY149" fmla="*/ 565071 h 1302624"/>
              <a:gd name="connsiteX150" fmla="*/ 1125362 w 1357313"/>
              <a:gd name="connsiteY150" fmla="*/ 506492 h 1302624"/>
              <a:gd name="connsiteX151" fmla="*/ 1020448 w 1357313"/>
              <a:gd name="connsiteY151" fmla="*/ 568643 h 1302624"/>
              <a:gd name="connsiteX152" fmla="*/ 1043286 w 1357313"/>
              <a:gd name="connsiteY152" fmla="*/ 604362 h 1302624"/>
              <a:gd name="connsiteX153" fmla="*/ 1037577 w 1357313"/>
              <a:gd name="connsiteY153" fmla="*/ 625793 h 1302624"/>
              <a:gd name="connsiteX154" fmla="*/ 1029726 w 1357313"/>
              <a:gd name="connsiteY154" fmla="*/ 627936 h 1302624"/>
              <a:gd name="connsiteX155" fmla="*/ 1016166 w 1357313"/>
              <a:gd name="connsiteY155" fmla="*/ 620078 h 1302624"/>
              <a:gd name="connsiteX156" fmla="*/ 946224 w 1357313"/>
              <a:gd name="connsiteY156" fmla="*/ 531496 h 1302624"/>
              <a:gd name="connsiteX157" fmla="*/ 946224 w 1357313"/>
              <a:gd name="connsiteY157" fmla="*/ 508636 h 1302624"/>
              <a:gd name="connsiteX158" fmla="*/ 968348 w 1357313"/>
              <a:gd name="connsiteY158" fmla="*/ 508636 h 1302624"/>
              <a:gd name="connsiteX159" fmla="*/ 1001178 w 1357313"/>
              <a:gd name="connsiteY159" fmla="*/ 543640 h 1302624"/>
              <a:gd name="connsiteX160" fmla="*/ 1109660 w 1357313"/>
              <a:gd name="connsiteY160" fmla="*/ 479346 h 1302624"/>
              <a:gd name="connsiteX161" fmla="*/ 1109660 w 1357313"/>
              <a:gd name="connsiteY161" fmla="*/ 362903 h 1302624"/>
              <a:gd name="connsiteX162" fmla="*/ 1117511 w 1357313"/>
              <a:gd name="connsiteY162" fmla="*/ 349330 h 1302624"/>
              <a:gd name="connsiteX163" fmla="*/ 1225993 w 1357313"/>
              <a:gd name="connsiteY163" fmla="*/ 287894 h 1302624"/>
              <a:gd name="connsiteX164" fmla="*/ 116488 w 1357313"/>
              <a:gd name="connsiteY164" fmla="*/ 287894 h 1302624"/>
              <a:gd name="connsiteX165" fmla="*/ 132210 w 1357313"/>
              <a:gd name="connsiteY165" fmla="*/ 287894 h 1302624"/>
              <a:gd name="connsiteX166" fmla="*/ 240122 w 1357313"/>
              <a:gd name="connsiteY166" fmla="*/ 349330 h 1302624"/>
              <a:gd name="connsiteX167" fmla="*/ 247983 w 1357313"/>
              <a:gd name="connsiteY167" fmla="*/ 362903 h 1302624"/>
              <a:gd name="connsiteX168" fmla="*/ 247983 w 1357313"/>
              <a:gd name="connsiteY168" fmla="*/ 479346 h 1302624"/>
              <a:gd name="connsiteX169" fmla="*/ 355180 w 1357313"/>
              <a:gd name="connsiteY169" fmla="*/ 543640 h 1302624"/>
              <a:gd name="connsiteX170" fmla="*/ 388054 w 1357313"/>
              <a:gd name="connsiteY170" fmla="*/ 508636 h 1302624"/>
              <a:gd name="connsiteX171" fmla="*/ 410208 w 1357313"/>
              <a:gd name="connsiteY171" fmla="*/ 508636 h 1302624"/>
              <a:gd name="connsiteX172" fmla="*/ 409493 w 1357313"/>
              <a:gd name="connsiteY172" fmla="*/ 531496 h 1302624"/>
              <a:gd name="connsiteX173" fmla="*/ 339458 w 1357313"/>
              <a:gd name="connsiteY173" fmla="*/ 620078 h 1302624"/>
              <a:gd name="connsiteX174" fmla="*/ 325880 w 1357313"/>
              <a:gd name="connsiteY174" fmla="*/ 627936 h 1302624"/>
              <a:gd name="connsiteX175" fmla="*/ 318018 w 1357313"/>
              <a:gd name="connsiteY175" fmla="*/ 625793 h 1302624"/>
              <a:gd name="connsiteX176" fmla="*/ 312301 w 1357313"/>
              <a:gd name="connsiteY176" fmla="*/ 604362 h 1302624"/>
              <a:gd name="connsiteX177" fmla="*/ 335170 w 1357313"/>
              <a:gd name="connsiteY177" fmla="*/ 568643 h 1302624"/>
              <a:gd name="connsiteX178" fmla="*/ 232975 w 1357313"/>
              <a:gd name="connsiteY178" fmla="*/ 506492 h 1302624"/>
              <a:gd name="connsiteX179" fmla="*/ 132210 w 1357313"/>
              <a:gd name="connsiteY179" fmla="*/ 565071 h 1302624"/>
              <a:gd name="connsiteX180" fmla="*/ 124349 w 1357313"/>
              <a:gd name="connsiteY180" fmla="*/ 567214 h 1302624"/>
              <a:gd name="connsiteX181" fmla="*/ 116488 w 1357313"/>
              <a:gd name="connsiteY181" fmla="*/ 565071 h 1302624"/>
              <a:gd name="connsiteX182" fmla="*/ 7861 w 1357313"/>
              <a:gd name="connsiteY182" fmla="*/ 502206 h 1302624"/>
              <a:gd name="connsiteX183" fmla="*/ 0 w 1357313"/>
              <a:gd name="connsiteY183" fmla="*/ 488633 h 1302624"/>
              <a:gd name="connsiteX184" fmla="*/ 0 w 1357313"/>
              <a:gd name="connsiteY184" fmla="*/ 362903 h 1302624"/>
              <a:gd name="connsiteX185" fmla="*/ 7861 w 1357313"/>
              <a:gd name="connsiteY185" fmla="*/ 349330 h 1302624"/>
              <a:gd name="connsiteX186" fmla="*/ 116488 w 1357313"/>
              <a:gd name="connsiteY186" fmla="*/ 287894 h 1302624"/>
              <a:gd name="connsiteX187" fmla="*/ 678656 w 1357313"/>
              <a:gd name="connsiteY187" fmla="*/ 69136 h 1302624"/>
              <a:gd name="connsiteX188" fmla="*/ 739775 w 1357313"/>
              <a:gd name="connsiteY188" fmla="*/ 104101 h 1302624"/>
              <a:gd name="connsiteX189" fmla="*/ 739775 w 1357313"/>
              <a:gd name="connsiteY189" fmla="*/ 175459 h 1302624"/>
              <a:gd name="connsiteX190" fmla="*/ 678656 w 1357313"/>
              <a:gd name="connsiteY190" fmla="*/ 210424 h 1302624"/>
              <a:gd name="connsiteX191" fmla="*/ 617537 w 1357313"/>
              <a:gd name="connsiteY191" fmla="*/ 175459 h 1302624"/>
              <a:gd name="connsiteX192" fmla="*/ 617537 w 1357313"/>
              <a:gd name="connsiteY192" fmla="*/ 104101 h 1302624"/>
              <a:gd name="connsiteX193" fmla="*/ 678656 w 1357313"/>
              <a:gd name="connsiteY193" fmla="*/ 69136 h 1302624"/>
              <a:gd name="connsiteX194" fmla="*/ 678656 w 1357313"/>
              <a:gd name="connsiteY194" fmla="*/ 34211 h 1302624"/>
              <a:gd name="connsiteX195" fmla="*/ 585787 w 1357313"/>
              <a:gd name="connsiteY195" fmla="*/ 87789 h 1302624"/>
              <a:gd name="connsiteX196" fmla="*/ 585787 w 1357313"/>
              <a:gd name="connsiteY196" fmla="*/ 194946 h 1302624"/>
              <a:gd name="connsiteX197" fmla="*/ 678656 w 1357313"/>
              <a:gd name="connsiteY197" fmla="*/ 248524 h 1302624"/>
              <a:gd name="connsiteX198" fmla="*/ 771525 w 1357313"/>
              <a:gd name="connsiteY198" fmla="*/ 194946 h 1302624"/>
              <a:gd name="connsiteX199" fmla="*/ 771525 w 1357313"/>
              <a:gd name="connsiteY199" fmla="*/ 87789 h 1302624"/>
              <a:gd name="connsiteX200" fmla="*/ 678656 w 1357313"/>
              <a:gd name="connsiteY200" fmla="*/ 34211 h 1302624"/>
              <a:gd name="connsiteX201" fmla="*/ 670778 w 1357313"/>
              <a:gd name="connsiteY201" fmla="*/ 2140 h 1302624"/>
              <a:gd name="connsiteX202" fmla="*/ 686534 w 1357313"/>
              <a:gd name="connsiteY202" fmla="*/ 2140 h 1302624"/>
              <a:gd name="connsiteX203" fmla="*/ 795397 w 1357313"/>
              <a:gd name="connsiteY203" fmla="*/ 64210 h 1302624"/>
              <a:gd name="connsiteX204" fmla="*/ 803275 w 1357313"/>
              <a:gd name="connsiteY204" fmla="*/ 77766 h 1302624"/>
              <a:gd name="connsiteX205" fmla="*/ 803275 w 1357313"/>
              <a:gd name="connsiteY205" fmla="*/ 203334 h 1302624"/>
              <a:gd name="connsiteX206" fmla="*/ 795397 w 1357313"/>
              <a:gd name="connsiteY206" fmla="*/ 216890 h 1302624"/>
              <a:gd name="connsiteX207" fmla="*/ 694413 w 1357313"/>
              <a:gd name="connsiteY207" fmla="*/ 274680 h 1302624"/>
              <a:gd name="connsiteX208" fmla="*/ 694413 w 1357313"/>
              <a:gd name="connsiteY208" fmla="*/ 392400 h 1302624"/>
              <a:gd name="connsiteX209" fmla="*/ 742398 w 1357313"/>
              <a:gd name="connsiteY209" fmla="*/ 397394 h 1302624"/>
              <a:gd name="connsiteX210" fmla="*/ 755290 w 1357313"/>
              <a:gd name="connsiteY210" fmla="*/ 415230 h 1302624"/>
              <a:gd name="connsiteX211" fmla="*/ 737385 w 1357313"/>
              <a:gd name="connsiteY211" fmla="*/ 428072 h 1302624"/>
              <a:gd name="connsiteX212" fmla="*/ 619212 w 1357313"/>
              <a:gd name="connsiteY212" fmla="*/ 428072 h 1302624"/>
              <a:gd name="connsiteX213" fmla="*/ 617063 w 1357313"/>
              <a:gd name="connsiteY213" fmla="*/ 428072 h 1302624"/>
              <a:gd name="connsiteX214" fmla="*/ 601307 w 1357313"/>
              <a:gd name="connsiteY214" fmla="*/ 415230 h 1302624"/>
              <a:gd name="connsiteX215" fmla="*/ 614198 w 1357313"/>
              <a:gd name="connsiteY215" fmla="*/ 397394 h 1302624"/>
              <a:gd name="connsiteX216" fmla="*/ 662900 w 1357313"/>
              <a:gd name="connsiteY216" fmla="*/ 392400 h 1302624"/>
              <a:gd name="connsiteX217" fmla="*/ 662900 w 1357313"/>
              <a:gd name="connsiteY217" fmla="*/ 274680 h 1302624"/>
              <a:gd name="connsiteX218" fmla="*/ 561915 w 1357313"/>
              <a:gd name="connsiteY218" fmla="*/ 216890 h 1302624"/>
              <a:gd name="connsiteX219" fmla="*/ 554037 w 1357313"/>
              <a:gd name="connsiteY219" fmla="*/ 203334 h 1302624"/>
              <a:gd name="connsiteX220" fmla="*/ 554037 w 1357313"/>
              <a:gd name="connsiteY220" fmla="*/ 77766 h 1302624"/>
              <a:gd name="connsiteX221" fmla="*/ 561915 w 1357313"/>
              <a:gd name="connsiteY221" fmla="*/ 64210 h 1302624"/>
              <a:gd name="connsiteX222" fmla="*/ 670778 w 1357313"/>
              <a:gd name="connsiteY222" fmla="*/ 2140 h 1302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</a:cxnLst>
            <a:rect l="l" t="t" r="r" b="b"/>
            <a:pathLst>
              <a:path w="1357313" h="1302624">
                <a:moveTo>
                  <a:pt x="813233" y="999411"/>
                </a:moveTo>
                <a:cubicBezTo>
                  <a:pt x="807460" y="1018519"/>
                  <a:pt x="801687" y="1036211"/>
                  <a:pt x="793750" y="1052487"/>
                </a:cubicBezTo>
                <a:cubicBezTo>
                  <a:pt x="782204" y="1078671"/>
                  <a:pt x="769216" y="1099902"/>
                  <a:pt x="754062" y="1116886"/>
                </a:cubicBezTo>
                <a:cubicBezTo>
                  <a:pt x="812511" y="1102733"/>
                  <a:pt x="863744" y="1073010"/>
                  <a:pt x="904875" y="1032672"/>
                </a:cubicBezTo>
                <a:cubicBezTo>
                  <a:pt x="878176" y="1018519"/>
                  <a:pt x="847148" y="1007903"/>
                  <a:pt x="813233" y="999411"/>
                </a:cubicBezTo>
                <a:close/>
                <a:moveTo>
                  <a:pt x="542833" y="999411"/>
                </a:moveTo>
                <a:cubicBezTo>
                  <a:pt x="509831" y="1007903"/>
                  <a:pt x="478982" y="1018519"/>
                  <a:pt x="452437" y="1032672"/>
                </a:cubicBezTo>
                <a:cubicBezTo>
                  <a:pt x="492613" y="1073010"/>
                  <a:pt x="544268" y="1102733"/>
                  <a:pt x="601662" y="1116886"/>
                </a:cubicBezTo>
                <a:cubicBezTo>
                  <a:pt x="587314" y="1099902"/>
                  <a:pt x="573683" y="1078671"/>
                  <a:pt x="562204" y="1052487"/>
                </a:cubicBezTo>
                <a:cubicBezTo>
                  <a:pt x="555029" y="1036211"/>
                  <a:pt x="548573" y="1018519"/>
                  <a:pt x="542833" y="999411"/>
                </a:cubicBezTo>
                <a:close/>
                <a:moveTo>
                  <a:pt x="678220" y="983536"/>
                </a:moveTo>
                <a:cubicBezTo>
                  <a:pt x="641745" y="983536"/>
                  <a:pt x="606701" y="987090"/>
                  <a:pt x="573087" y="992777"/>
                </a:cubicBezTo>
                <a:cubicBezTo>
                  <a:pt x="598119" y="1077364"/>
                  <a:pt x="638885" y="1126411"/>
                  <a:pt x="678220" y="1126411"/>
                </a:cubicBezTo>
                <a:cubicBezTo>
                  <a:pt x="717555" y="1126411"/>
                  <a:pt x="758321" y="1077364"/>
                  <a:pt x="782637" y="992777"/>
                </a:cubicBezTo>
                <a:cubicBezTo>
                  <a:pt x="749739" y="987090"/>
                  <a:pt x="713979" y="983536"/>
                  <a:pt x="678220" y="983536"/>
                </a:cubicBezTo>
                <a:close/>
                <a:moveTo>
                  <a:pt x="363537" y="827961"/>
                </a:moveTo>
                <a:cubicBezTo>
                  <a:pt x="366383" y="895588"/>
                  <a:pt x="391282" y="957519"/>
                  <a:pt x="431121" y="1007349"/>
                </a:cubicBezTo>
                <a:cubicBezTo>
                  <a:pt x="461001" y="990976"/>
                  <a:pt x="496571" y="977451"/>
                  <a:pt x="534987" y="968197"/>
                </a:cubicBezTo>
                <a:cubicBezTo>
                  <a:pt x="525027" y="924774"/>
                  <a:pt x="519336" y="877079"/>
                  <a:pt x="518625" y="827961"/>
                </a:cubicBezTo>
                <a:cubicBezTo>
                  <a:pt x="518625" y="827961"/>
                  <a:pt x="518625" y="827961"/>
                  <a:pt x="363537" y="827961"/>
                </a:cubicBezTo>
                <a:close/>
                <a:moveTo>
                  <a:pt x="823119" y="761286"/>
                </a:moveTo>
                <a:cubicBezTo>
                  <a:pt x="850737" y="761286"/>
                  <a:pt x="873126" y="784030"/>
                  <a:pt x="873126" y="812086"/>
                </a:cubicBezTo>
                <a:cubicBezTo>
                  <a:pt x="873126" y="840142"/>
                  <a:pt x="850737" y="862886"/>
                  <a:pt x="823119" y="862886"/>
                </a:cubicBezTo>
                <a:cubicBezTo>
                  <a:pt x="795501" y="862886"/>
                  <a:pt x="773112" y="840142"/>
                  <a:pt x="773112" y="812086"/>
                </a:cubicBezTo>
                <a:cubicBezTo>
                  <a:pt x="773112" y="784030"/>
                  <a:pt x="795501" y="761286"/>
                  <a:pt x="823119" y="761286"/>
                </a:cubicBezTo>
                <a:close/>
                <a:moveTo>
                  <a:pt x="554832" y="596186"/>
                </a:moveTo>
                <a:cubicBezTo>
                  <a:pt x="582450" y="596186"/>
                  <a:pt x="604839" y="618575"/>
                  <a:pt x="604839" y="646193"/>
                </a:cubicBezTo>
                <a:cubicBezTo>
                  <a:pt x="604839" y="673811"/>
                  <a:pt x="582450" y="696200"/>
                  <a:pt x="554832" y="696200"/>
                </a:cubicBezTo>
                <a:cubicBezTo>
                  <a:pt x="527214" y="696200"/>
                  <a:pt x="504825" y="673811"/>
                  <a:pt x="504825" y="646193"/>
                </a:cubicBezTo>
                <a:cubicBezTo>
                  <a:pt x="504825" y="618575"/>
                  <a:pt x="527214" y="596186"/>
                  <a:pt x="554832" y="596186"/>
                </a:cubicBezTo>
                <a:close/>
                <a:moveTo>
                  <a:pt x="258844" y="558086"/>
                </a:moveTo>
                <a:cubicBezTo>
                  <a:pt x="258844" y="558086"/>
                  <a:pt x="258844" y="558086"/>
                  <a:pt x="285305" y="573791"/>
                </a:cubicBezTo>
                <a:cubicBezTo>
                  <a:pt x="243110" y="643033"/>
                  <a:pt x="218793" y="725125"/>
                  <a:pt x="218793" y="812214"/>
                </a:cubicBezTo>
                <a:cubicBezTo>
                  <a:pt x="218793" y="1065628"/>
                  <a:pt x="425482" y="1271215"/>
                  <a:pt x="678657" y="1271215"/>
                </a:cubicBezTo>
                <a:cubicBezTo>
                  <a:pt x="932547" y="1271215"/>
                  <a:pt x="1138520" y="1065628"/>
                  <a:pt x="1138520" y="812214"/>
                </a:cubicBezTo>
                <a:cubicBezTo>
                  <a:pt x="1138520" y="725125"/>
                  <a:pt x="1114204" y="643747"/>
                  <a:pt x="1072008" y="573791"/>
                </a:cubicBezTo>
                <a:cubicBezTo>
                  <a:pt x="1072008" y="573791"/>
                  <a:pt x="1072008" y="573791"/>
                  <a:pt x="1098470" y="558086"/>
                </a:cubicBezTo>
                <a:cubicBezTo>
                  <a:pt x="1143526" y="632326"/>
                  <a:pt x="1169988" y="719415"/>
                  <a:pt x="1169988" y="812214"/>
                </a:cubicBezTo>
                <a:cubicBezTo>
                  <a:pt x="1169988" y="1082761"/>
                  <a:pt x="949712" y="1302624"/>
                  <a:pt x="678657" y="1302624"/>
                </a:cubicBezTo>
                <a:cubicBezTo>
                  <a:pt x="408317" y="1302624"/>
                  <a:pt x="187325" y="1082761"/>
                  <a:pt x="187325" y="812214"/>
                </a:cubicBezTo>
                <a:cubicBezTo>
                  <a:pt x="187325" y="718701"/>
                  <a:pt x="213072" y="631612"/>
                  <a:pt x="258844" y="558086"/>
                </a:cubicBezTo>
                <a:close/>
                <a:moveTo>
                  <a:pt x="754062" y="505698"/>
                </a:moveTo>
                <a:cubicBezTo>
                  <a:pt x="769216" y="522809"/>
                  <a:pt x="782204" y="544910"/>
                  <a:pt x="793750" y="571290"/>
                </a:cubicBezTo>
                <a:cubicBezTo>
                  <a:pt x="801687" y="587688"/>
                  <a:pt x="807460" y="605511"/>
                  <a:pt x="813233" y="624761"/>
                </a:cubicBezTo>
                <a:cubicBezTo>
                  <a:pt x="847148" y="616206"/>
                  <a:pt x="878176" y="605511"/>
                  <a:pt x="904875" y="591252"/>
                </a:cubicBezTo>
                <a:cubicBezTo>
                  <a:pt x="863744" y="550614"/>
                  <a:pt x="812511" y="519957"/>
                  <a:pt x="754062" y="505698"/>
                </a:cubicBezTo>
                <a:close/>
                <a:moveTo>
                  <a:pt x="678656" y="496173"/>
                </a:moveTo>
                <a:cubicBezTo>
                  <a:pt x="649359" y="496173"/>
                  <a:pt x="618634" y="524730"/>
                  <a:pt x="595053" y="574706"/>
                </a:cubicBezTo>
                <a:cubicBezTo>
                  <a:pt x="585764" y="569708"/>
                  <a:pt x="575760" y="566138"/>
                  <a:pt x="565042" y="564711"/>
                </a:cubicBezTo>
                <a:cubicBezTo>
                  <a:pt x="575760" y="541151"/>
                  <a:pt x="588622" y="521161"/>
                  <a:pt x="601484" y="505454"/>
                </a:cubicBezTo>
                <a:cubicBezTo>
                  <a:pt x="544320" y="519733"/>
                  <a:pt x="492872" y="550432"/>
                  <a:pt x="452857" y="591126"/>
                </a:cubicBezTo>
                <a:cubicBezTo>
                  <a:pt x="462146" y="596124"/>
                  <a:pt x="472864" y="601121"/>
                  <a:pt x="483583" y="605405"/>
                </a:cubicBezTo>
                <a:cubicBezTo>
                  <a:pt x="478581" y="614686"/>
                  <a:pt x="475008" y="624681"/>
                  <a:pt x="473579" y="635390"/>
                </a:cubicBezTo>
                <a:cubicBezTo>
                  <a:pt x="458573" y="629678"/>
                  <a:pt x="444282" y="622539"/>
                  <a:pt x="431420" y="615400"/>
                </a:cubicBezTo>
                <a:cubicBezTo>
                  <a:pt x="391405" y="665375"/>
                  <a:pt x="366395" y="728201"/>
                  <a:pt x="363537" y="796024"/>
                </a:cubicBezTo>
                <a:cubicBezTo>
                  <a:pt x="363537" y="796024"/>
                  <a:pt x="363537" y="796024"/>
                  <a:pt x="519310" y="796024"/>
                </a:cubicBezTo>
                <a:cubicBezTo>
                  <a:pt x="519310" y="770323"/>
                  <a:pt x="521454" y="745335"/>
                  <a:pt x="524312" y="721062"/>
                </a:cubicBezTo>
                <a:cubicBezTo>
                  <a:pt x="533601" y="725345"/>
                  <a:pt x="543605" y="727487"/>
                  <a:pt x="554324" y="727487"/>
                </a:cubicBezTo>
                <a:cubicBezTo>
                  <a:pt x="554324" y="727487"/>
                  <a:pt x="554324" y="727487"/>
                  <a:pt x="555038" y="727487"/>
                </a:cubicBezTo>
                <a:cubicBezTo>
                  <a:pt x="552180" y="748905"/>
                  <a:pt x="550751" y="771751"/>
                  <a:pt x="550751" y="796024"/>
                </a:cubicBezTo>
                <a:cubicBezTo>
                  <a:pt x="550751" y="796024"/>
                  <a:pt x="550751" y="796024"/>
                  <a:pt x="742252" y="796024"/>
                </a:cubicBezTo>
                <a:cubicBezTo>
                  <a:pt x="741537" y="801022"/>
                  <a:pt x="740823" y="806019"/>
                  <a:pt x="740823" y="811731"/>
                </a:cubicBezTo>
                <a:cubicBezTo>
                  <a:pt x="740823" y="816728"/>
                  <a:pt x="741537" y="821726"/>
                  <a:pt x="742252" y="827437"/>
                </a:cubicBezTo>
                <a:cubicBezTo>
                  <a:pt x="742252" y="827437"/>
                  <a:pt x="742252" y="827437"/>
                  <a:pt x="550751" y="827437"/>
                </a:cubicBezTo>
                <a:cubicBezTo>
                  <a:pt x="551465" y="876699"/>
                  <a:pt x="557182" y="921676"/>
                  <a:pt x="565756" y="960943"/>
                </a:cubicBezTo>
                <a:cubicBezTo>
                  <a:pt x="601484" y="954517"/>
                  <a:pt x="640070" y="950948"/>
                  <a:pt x="678656" y="950948"/>
                </a:cubicBezTo>
                <a:cubicBezTo>
                  <a:pt x="717242" y="950948"/>
                  <a:pt x="755114" y="954517"/>
                  <a:pt x="790841" y="960943"/>
                </a:cubicBezTo>
                <a:cubicBezTo>
                  <a:pt x="795843" y="939525"/>
                  <a:pt x="800131" y="915965"/>
                  <a:pt x="802989" y="890263"/>
                </a:cubicBezTo>
                <a:cubicBezTo>
                  <a:pt x="808705" y="892405"/>
                  <a:pt x="815851" y="893119"/>
                  <a:pt x="822282" y="893119"/>
                </a:cubicBezTo>
                <a:cubicBezTo>
                  <a:pt x="826569" y="893119"/>
                  <a:pt x="830142" y="892405"/>
                  <a:pt x="833715" y="892405"/>
                </a:cubicBezTo>
                <a:cubicBezTo>
                  <a:pt x="830857" y="918107"/>
                  <a:pt x="827284" y="943808"/>
                  <a:pt x="821567" y="968082"/>
                </a:cubicBezTo>
                <a:cubicBezTo>
                  <a:pt x="860153" y="977363"/>
                  <a:pt x="895167" y="990928"/>
                  <a:pt x="925892" y="1007348"/>
                </a:cubicBezTo>
                <a:cubicBezTo>
                  <a:pt x="965193" y="957373"/>
                  <a:pt x="990202" y="895261"/>
                  <a:pt x="993775" y="827437"/>
                </a:cubicBezTo>
                <a:cubicBezTo>
                  <a:pt x="993775" y="827437"/>
                  <a:pt x="993775" y="827437"/>
                  <a:pt x="902312" y="827437"/>
                </a:cubicBezTo>
                <a:cubicBezTo>
                  <a:pt x="903741" y="821726"/>
                  <a:pt x="904456" y="816728"/>
                  <a:pt x="904456" y="811731"/>
                </a:cubicBezTo>
                <a:cubicBezTo>
                  <a:pt x="904456" y="806019"/>
                  <a:pt x="903741" y="801022"/>
                  <a:pt x="902312" y="796024"/>
                </a:cubicBezTo>
                <a:cubicBezTo>
                  <a:pt x="902312" y="796024"/>
                  <a:pt x="902312" y="796024"/>
                  <a:pt x="993775" y="796024"/>
                </a:cubicBezTo>
                <a:cubicBezTo>
                  <a:pt x="990202" y="728201"/>
                  <a:pt x="965193" y="665375"/>
                  <a:pt x="925892" y="615400"/>
                </a:cubicBezTo>
                <a:cubicBezTo>
                  <a:pt x="895167" y="632534"/>
                  <a:pt x="860153" y="645385"/>
                  <a:pt x="821567" y="655380"/>
                </a:cubicBezTo>
                <a:cubicBezTo>
                  <a:pt x="827284" y="678940"/>
                  <a:pt x="830857" y="704641"/>
                  <a:pt x="833715" y="731057"/>
                </a:cubicBezTo>
                <a:cubicBezTo>
                  <a:pt x="830142" y="730343"/>
                  <a:pt x="826569" y="729629"/>
                  <a:pt x="822282" y="729629"/>
                </a:cubicBezTo>
                <a:cubicBezTo>
                  <a:pt x="815851" y="729629"/>
                  <a:pt x="808705" y="731057"/>
                  <a:pt x="802989" y="732484"/>
                </a:cubicBezTo>
                <a:cubicBezTo>
                  <a:pt x="800131" y="706783"/>
                  <a:pt x="795843" y="683223"/>
                  <a:pt x="790841" y="661805"/>
                </a:cubicBezTo>
                <a:cubicBezTo>
                  <a:pt x="755114" y="668231"/>
                  <a:pt x="717242" y="671800"/>
                  <a:pt x="678656" y="671800"/>
                </a:cubicBezTo>
                <a:cubicBezTo>
                  <a:pt x="662936" y="671800"/>
                  <a:pt x="647216" y="671086"/>
                  <a:pt x="632210" y="670372"/>
                </a:cubicBezTo>
                <a:cubicBezTo>
                  <a:pt x="634354" y="662519"/>
                  <a:pt x="635783" y="653952"/>
                  <a:pt x="635783" y="646099"/>
                </a:cubicBezTo>
                <a:cubicBezTo>
                  <a:pt x="635783" y="643243"/>
                  <a:pt x="635783" y="641101"/>
                  <a:pt x="635783" y="638959"/>
                </a:cubicBezTo>
                <a:cubicBezTo>
                  <a:pt x="650074" y="639673"/>
                  <a:pt x="664365" y="640387"/>
                  <a:pt x="678656" y="640387"/>
                </a:cubicBezTo>
                <a:cubicBezTo>
                  <a:pt x="714384" y="640387"/>
                  <a:pt x="750112" y="637532"/>
                  <a:pt x="782981" y="631106"/>
                </a:cubicBezTo>
                <a:cubicBezTo>
                  <a:pt x="758686" y="546862"/>
                  <a:pt x="717957" y="496173"/>
                  <a:pt x="678656" y="496173"/>
                </a:cubicBezTo>
                <a:close/>
                <a:moveTo>
                  <a:pt x="678221" y="466011"/>
                </a:moveTo>
                <a:cubicBezTo>
                  <a:pt x="782770" y="466011"/>
                  <a:pt x="876578" y="512392"/>
                  <a:pt x="940310" y="585175"/>
                </a:cubicBezTo>
                <a:cubicBezTo>
                  <a:pt x="941026" y="585889"/>
                  <a:pt x="941742" y="586602"/>
                  <a:pt x="942459" y="588029"/>
                </a:cubicBezTo>
                <a:cubicBezTo>
                  <a:pt x="994733" y="648682"/>
                  <a:pt x="1025525" y="727173"/>
                  <a:pt x="1025525" y="812800"/>
                </a:cubicBezTo>
                <a:cubicBezTo>
                  <a:pt x="1025525" y="898427"/>
                  <a:pt x="994733" y="976204"/>
                  <a:pt x="942459" y="1036857"/>
                </a:cubicBezTo>
                <a:cubicBezTo>
                  <a:pt x="941742" y="1038284"/>
                  <a:pt x="941026" y="1038997"/>
                  <a:pt x="940310" y="1040424"/>
                </a:cubicBezTo>
                <a:cubicBezTo>
                  <a:pt x="875862" y="1112494"/>
                  <a:pt x="782770" y="1158161"/>
                  <a:pt x="678221" y="1158161"/>
                </a:cubicBezTo>
                <a:cubicBezTo>
                  <a:pt x="573671" y="1158161"/>
                  <a:pt x="480579" y="1112494"/>
                  <a:pt x="416847" y="1040424"/>
                </a:cubicBezTo>
                <a:cubicBezTo>
                  <a:pt x="415415" y="1039711"/>
                  <a:pt x="413983" y="1038284"/>
                  <a:pt x="413267" y="1036857"/>
                </a:cubicBezTo>
                <a:cubicBezTo>
                  <a:pt x="361708" y="976204"/>
                  <a:pt x="330200" y="897713"/>
                  <a:pt x="330200" y="812800"/>
                </a:cubicBezTo>
                <a:cubicBezTo>
                  <a:pt x="330200" y="727173"/>
                  <a:pt x="361708" y="648682"/>
                  <a:pt x="413267" y="588029"/>
                </a:cubicBezTo>
                <a:cubicBezTo>
                  <a:pt x="413983" y="586602"/>
                  <a:pt x="415415" y="585889"/>
                  <a:pt x="416131" y="584462"/>
                </a:cubicBezTo>
                <a:cubicBezTo>
                  <a:pt x="479863" y="512392"/>
                  <a:pt x="573671" y="466011"/>
                  <a:pt x="678221" y="466011"/>
                </a:cubicBezTo>
                <a:close/>
                <a:moveTo>
                  <a:pt x="1233488" y="354886"/>
                </a:moveTo>
                <a:cubicBezTo>
                  <a:pt x="1233488" y="354886"/>
                  <a:pt x="1233488" y="354886"/>
                  <a:pt x="1295400" y="389851"/>
                </a:cubicBezTo>
                <a:cubicBezTo>
                  <a:pt x="1295400" y="389851"/>
                  <a:pt x="1295400" y="389851"/>
                  <a:pt x="1295400" y="461209"/>
                </a:cubicBezTo>
                <a:cubicBezTo>
                  <a:pt x="1295400" y="461209"/>
                  <a:pt x="1295400" y="461209"/>
                  <a:pt x="1233488" y="496174"/>
                </a:cubicBezTo>
                <a:cubicBezTo>
                  <a:pt x="1233488" y="496174"/>
                  <a:pt x="1233488" y="496174"/>
                  <a:pt x="1171575" y="461209"/>
                </a:cubicBezTo>
                <a:cubicBezTo>
                  <a:pt x="1171575" y="461209"/>
                  <a:pt x="1171575" y="461209"/>
                  <a:pt x="1171575" y="389851"/>
                </a:cubicBezTo>
                <a:cubicBezTo>
                  <a:pt x="1171575" y="389851"/>
                  <a:pt x="1171575" y="389851"/>
                  <a:pt x="1233488" y="354886"/>
                </a:cubicBezTo>
                <a:close/>
                <a:moveTo>
                  <a:pt x="126206" y="354886"/>
                </a:moveTo>
                <a:cubicBezTo>
                  <a:pt x="126206" y="354886"/>
                  <a:pt x="126206" y="354886"/>
                  <a:pt x="187325" y="389851"/>
                </a:cubicBezTo>
                <a:cubicBezTo>
                  <a:pt x="187325" y="389851"/>
                  <a:pt x="187325" y="389851"/>
                  <a:pt x="187325" y="461209"/>
                </a:cubicBezTo>
                <a:cubicBezTo>
                  <a:pt x="187325" y="461209"/>
                  <a:pt x="187325" y="461209"/>
                  <a:pt x="126206" y="496174"/>
                </a:cubicBezTo>
                <a:cubicBezTo>
                  <a:pt x="126206" y="496174"/>
                  <a:pt x="126206" y="496174"/>
                  <a:pt x="65087" y="461209"/>
                </a:cubicBezTo>
                <a:cubicBezTo>
                  <a:pt x="65087" y="461209"/>
                  <a:pt x="65087" y="461209"/>
                  <a:pt x="65087" y="389851"/>
                </a:cubicBezTo>
                <a:cubicBezTo>
                  <a:pt x="65087" y="389851"/>
                  <a:pt x="65087" y="389851"/>
                  <a:pt x="126206" y="354886"/>
                </a:cubicBezTo>
                <a:close/>
                <a:moveTo>
                  <a:pt x="725487" y="323136"/>
                </a:moveTo>
                <a:cubicBezTo>
                  <a:pt x="850566" y="335313"/>
                  <a:pt x="962065" y="394051"/>
                  <a:pt x="1041400" y="482874"/>
                </a:cubicBezTo>
                <a:cubicBezTo>
                  <a:pt x="1041400" y="482874"/>
                  <a:pt x="1041400" y="482874"/>
                  <a:pt x="1013526" y="499349"/>
                </a:cubicBezTo>
                <a:cubicBezTo>
                  <a:pt x="940623" y="419838"/>
                  <a:pt x="839130" y="366115"/>
                  <a:pt x="725487" y="354654"/>
                </a:cubicBezTo>
                <a:cubicBezTo>
                  <a:pt x="725487" y="354654"/>
                  <a:pt x="725487" y="354654"/>
                  <a:pt x="725487" y="323136"/>
                </a:cubicBezTo>
                <a:close/>
                <a:moveTo>
                  <a:pt x="631825" y="323136"/>
                </a:moveTo>
                <a:cubicBezTo>
                  <a:pt x="631825" y="354497"/>
                  <a:pt x="631825" y="354497"/>
                  <a:pt x="631825" y="354497"/>
                </a:cubicBezTo>
                <a:cubicBezTo>
                  <a:pt x="518182" y="365901"/>
                  <a:pt x="417405" y="419358"/>
                  <a:pt x="343787" y="497761"/>
                </a:cubicBezTo>
                <a:cubicBezTo>
                  <a:pt x="315912" y="481368"/>
                  <a:pt x="315912" y="481368"/>
                  <a:pt x="315912" y="481368"/>
                </a:cubicBezTo>
                <a:cubicBezTo>
                  <a:pt x="395963" y="393699"/>
                  <a:pt x="506747" y="335253"/>
                  <a:pt x="631825" y="323136"/>
                </a:cubicBezTo>
                <a:close/>
                <a:moveTo>
                  <a:pt x="1233843" y="318373"/>
                </a:moveTo>
                <a:cubicBezTo>
                  <a:pt x="1233843" y="318373"/>
                  <a:pt x="1233843" y="318373"/>
                  <a:pt x="1141412" y="371414"/>
                </a:cubicBezTo>
                <a:cubicBezTo>
                  <a:pt x="1141412" y="371414"/>
                  <a:pt x="1141412" y="371414"/>
                  <a:pt x="1141412" y="478929"/>
                </a:cubicBezTo>
                <a:cubicBezTo>
                  <a:pt x="1141412" y="478929"/>
                  <a:pt x="1141412" y="478929"/>
                  <a:pt x="1233843" y="532686"/>
                </a:cubicBezTo>
                <a:cubicBezTo>
                  <a:pt x="1233843" y="532686"/>
                  <a:pt x="1233843" y="532686"/>
                  <a:pt x="1325562" y="478929"/>
                </a:cubicBezTo>
                <a:cubicBezTo>
                  <a:pt x="1325562" y="478929"/>
                  <a:pt x="1325562" y="478929"/>
                  <a:pt x="1325562" y="371414"/>
                </a:cubicBezTo>
                <a:cubicBezTo>
                  <a:pt x="1325562" y="371414"/>
                  <a:pt x="1325562" y="371414"/>
                  <a:pt x="1233843" y="318373"/>
                </a:cubicBezTo>
                <a:close/>
                <a:moveTo>
                  <a:pt x="124619" y="318373"/>
                </a:moveTo>
                <a:cubicBezTo>
                  <a:pt x="124619" y="318373"/>
                  <a:pt x="124619" y="318373"/>
                  <a:pt x="31750" y="371414"/>
                </a:cubicBezTo>
                <a:cubicBezTo>
                  <a:pt x="31750" y="371414"/>
                  <a:pt x="31750" y="371414"/>
                  <a:pt x="31750" y="478929"/>
                </a:cubicBezTo>
                <a:cubicBezTo>
                  <a:pt x="31750" y="478929"/>
                  <a:pt x="31750" y="478929"/>
                  <a:pt x="124619" y="532686"/>
                </a:cubicBezTo>
                <a:cubicBezTo>
                  <a:pt x="124619" y="532686"/>
                  <a:pt x="124619" y="532686"/>
                  <a:pt x="217488" y="478929"/>
                </a:cubicBezTo>
                <a:cubicBezTo>
                  <a:pt x="217488" y="478929"/>
                  <a:pt x="217488" y="478929"/>
                  <a:pt x="217488" y="371414"/>
                </a:cubicBezTo>
                <a:cubicBezTo>
                  <a:pt x="217488" y="371414"/>
                  <a:pt x="217488" y="371414"/>
                  <a:pt x="124619" y="318373"/>
                </a:cubicBezTo>
                <a:close/>
                <a:moveTo>
                  <a:pt x="1225993" y="287894"/>
                </a:moveTo>
                <a:cubicBezTo>
                  <a:pt x="1230989" y="285036"/>
                  <a:pt x="1236698" y="285036"/>
                  <a:pt x="1241694" y="287894"/>
                </a:cubicBezTo>
                <a:cubicBezTo>
                  <a:pt x="1241694" y="287894"/>
                  <a:pt x="1241694" y="287894"/>
                  <a:pt x="1349463" y="349330"/>
                </a:cubicBezTo>
                <a:cubicBezTo>
                  <a:pt x="1354458" y="352187"/>
                  <a:pt x="1357313" y="357188"/>
                  <a:pt x="1357313" y="362903"/>
                </a:cubicBezTo>
                <a:cubicBezTo>
                  <a:pt x="1357313" y="362903"/>
                  <a:pt x="1357313" y="362903"/>
                  <a:pt x="1357313" y="488633"/>
                </a:cubicBezTo>
                <a:cubicBezTo>
                  <a:pt x="1357313" y="494348"/>
                  <a:pt x="1354458" y="499349"/>
                  <a:pt x="1349463" y="502206"/>
                </a:cubicBezTo>
                <a:cubicBezTo>
                  <a:pt x="1349463" y="502206"/>
                  <a:pt x="1349463" y="502206"/>
                  <a:pt x="1241694" y="565071"/>
                </a:cubicBezTo>
                <a:cubicBezTo>
                  <a:pt x="1239553" y="566500"/>
                  <a:pt x="1236698" y="567214"/>
                  <a:pt x="1233844" y="567214"/>
                </a:cubicBezTo>
                <a:cubicBezTo>
                  <a:pt x="1230989" y="567214"/>
                  <a:pt x="1228848" y="566500"/>
                  <a:pt x="1225993" y="565071"/>
                </a:cubicBezTo>
                <a:cubicBezTo>
                  <a:pt x="1225993" y="565071"/>
                  <a:pt x="1225993" y="565071"/>
                  <a:pt x="1125362" y="506492"/>
                </a:cubicBezTo>
                <a:cubicBezTo>
                  <a:pt x="1125362" y="506492"/>
                  <a:pt x="1125362" y="506492"/>
                  <a:pt x="1020448" y="568643"/>
                </a:cubicBezTo>
                <a:cubicBezTo>
                  <a:pt x="1029012" y="580073"/>
                  <a:pt x="1036149" y="592217"/>
                  <a:pt x="1043286" y="604362"/>
                </a:cubicBezTo>
                <a:cubicBezTo>
                  <a:pt x="1047569" y="612220"/>
                  <a:pt x="1045427" y="621507"/>
                  <a:pt x="1037577" y="625793"/>
                </a:cubicBezTo>
                <a:cubicBezTo>
                  <a:pt x="1035436" y="627222"/>
                  <a:pt x="1032581" y="627936"/>
                  <a:pt x="1029726" y="627936"/>
                </a:cubicBezTo>
                <a:cubicBezTo>
                  <a:pt x="1024730" y="627936"/>
                  <a:pt x="1019021" y="625079"/>
                  <a:pt x="1016166" y="620078"/>
                </a:cubicBezTo>
                <a:cubicBezTo>
                  <a:pt x="997610" y="587217"/>
                  <a:pt x="974058" y="557213"/>
                  <a:pt x="946224" y="531496"/>
                </a:cubicBezTo>
                <a:cubicBezTo>
                  <a:pt x="940514" y="525066"/>
                  <a:pt x="939800" y="515065"/>
                  <a:pt x="946224" y="508636"/>
                </a:cubicBezTo>
                <a:cubicBezTo>
                  <a:pt x="951933" y="502921"/>
                  <a:pt x="961925" y="502206"/>
                  <a:pt x="968348" y="508636"/>
                </a:cubicBezTo>
                <a:cubicBezTo>
                  <a:pt x="979767" y="519351"/>
                  <a:pt x="990473" y="531496"/>
                  <a:pt x="1001178" y="543640"/>
                </a:cubicBezTo>
                <a:cubicBezTo>
                  <a:pt x="1001178" y="543640"/>
                  <a:pt x="1001178" y="543640"/>
                  <a:pt x="1109660" y="479346"/>
                </a:cubicBezTo>
                <a:cubicBezTo>
                  <a:pt x="1109660" y="479346"/>
                  <a:pt x="1109660" y="479346"/>
                  <a:pt x="1109660" y="362903"/>
                </a:cubicBezTo>
                <a:cubicBezTo>
                  <a:pt x="1109660" y="357188"/>
                  <a:pt x="1112515" y="352187"/>
                  <a:pt x="1117511" y="349330"/>
                </a:cubicBezTo>
                <a:cubicBezTo>
                  <a:pt x="1117511" y="349330"/>
                  <a:pt x="1117511" y="349330"/>
                  <a:pt x="1225993" y="287894"/>
                </a:cubicBezTo>
                <a:close/>
                <a:moveTo>
                  <a:pt x="116488" y="287894"/>
                </a:moveTo>
                <a:cubicBezTo>
                  <a:pt x="121490" y="285036"/>
                  <a:pt x="127208" y="285036"/>
                  <a:pt x="132210" y="287894"/>
                </a:cubicBezTo>
                <a:cubicBezTo>
                  <a:pt x="132210" y="287894"/>
                  <a:pt x="132210" y="287894"/>
                  <a:pt x="240122" y="349330"/>
                </a:cubicBezTo>
                <a:cubicBezTo>
                  <a:pt x="245124" y="352187"/>
                  <a:pt x="247983" y="357188"/>
                  <a:pt x="247983" y="362903"/>
                </a:cubicBezTo>
                <a:cubicBezTo>
                  <a:pt x="247983" y="362903"/>
                  <a:pt x="247983" y="362903"/>
                  <a:pt x="247983" y="479346"/>
                </a:cubicBezTo>
                <a:cubicBezTo>
                  <a:pt x="247983" y="479346"/>
                  <a:pt x="247983" y="479346"/>
                  <a:pt x="355180" y="543640"/>
                </a:cubicBezTo>
                <a:cubicBezTo>
                  <a:pt x="365185" y="531496"/>
                  <a:pt x="375905" y="519351"/>
                  <a:pt x="388054" y="508636"/>
                </a:cubicBezTo>
                <a:cubicBezTo>
                  <a:pt x="394486" y="502206"/>
                  <a:pt x="404491" y="502921"/>
                  <a:pt x="410208" y="508636"/>
                </a:cubicBezTo>
                <a:cubicBezTo>
                  <a:pt x="415925" y="515065"/>
                  <a:pt x="415925" y="525066"/>
                  <a:pt x="409493" y="531496"/>
                </a:cubicBezTo>
                <a:cubicBezTo>
                  <a:pt x="382337" y="557213"/>
                  <a:pt x="358753" y="587217"/>
                  <a:pt x="339458" y="620078"/>
                </a:cubicBezTo>
                <a:cubicBezTo>
                  <a:pt x="336599" y="625079"/>
                  <a:pt x="331597" y="627936"/>
                  <a:pt x="325880" y="627936"/>
                </a:cubicBezTo>
                <a:cubicBezTo>
                  <a:pt x="323736" y="627936"/>
                  <a:pt x="320877" y="627222"/>
                  <a:pt x="318018" y="625793"/>
                </a:cubicBezTo>
                <a:cubicBezTo>
                  <a:pt x="310872" y="621507"/>
                  <a:pt x="308013" y="612220"/>
                  <a:pt x="312301" y="604362"/>
                </a:cubicBezTo>
                <a:cubicBezTo>
                  <a:pt x="319448" y="592217"/>
                  <a:pt x="327309" y="580073"/>
                  <a:pt x="335170" y="568643"/>
                </a:cubicBezTo>
                <a:cubicBezTo>
                  <a:pt x="335170" y="568643"/>
                  <a:pt x="335170" y="568643"/>
                  <a:pt x="232975" y="506492"/>
                </a:cubicBezTo>
                <a:cubicBezTo>
                  <a:pt x="232975" y="506492"/>
                  <a:pt x="232975" y="506492"/>
                  <a:pt x="132210" y="565071"/>
                </a:cubicBezTo>
                <a:cubicBezTo>
                  <a:pt x="129351" y="566500"/>
                  <a:pt x="127208" y="567214"/>
                  <a:pt x="124349" y="567214"/>
                </a:cubicBezTo>
                <a:cubicBezTo>
                  <a:pt x="121490" y="567214"/>
                  <a:pt x="118632" y="566500"/>
                  <a:pt x="116488" y="565071"/>
                </a:cubicBezTo>
                <a:cubicBezTo>
                  <a:pt x="116488" y="565071"/>
                  <a:pt x="116488" y="565071"/>
                  <a:pt x="7861" y="502206"/>
                </a:cubicBezTo>
                <a:cubicBezTo>
                  <a:pt x="2859" y="499349"/>
                  <a:pt x="0" y="494348"/>
                  <a:pt x="0" y="488633"/>
                </a:cubicBezTo>
                <a:cubicBezTo>
                  <a:pt x="0" y="488633"/>
                  <a:pt x="0" y="488633"/>
                  <a:pt x="0" y="362903"/>
                </a:cubicBezTo>
                <a:cubicBezTo>
                  <a:pt x="0" y="357188"/>
                  <a:pt x="2859" y="352187"/>
                  <a:pt x="7861" y="349330"/>
                </a:cubicBezTo>
                <a:cubicBezTo>
                  <a:pt x="7861" y="349330"/>
                  <a:pt x="7861" y="349330"/>
                  <a:pt x="116488" y="287894"/>
                </a:cubicBezTo>
                <a:close/>
                <a:moveTo>
                  <a:pt x="678656" y="69136"/>
                </a:moveTo>
                <a:cubicBezTo>
                  <a:pt x="678656" y="69136"/>
                  <a:pt x="678656" y="69136"/>
                  <a:pt x="739775" y="104101"/>
                </a:cubicBezTo>
                <a:cubicBezTo>
                  <a:pt x="739775" y="104101"/>
                  <a:pt x="739775" y="104101"/>
                  <a:pt x="739775" y="175459"/>
                </a:cubicBezTo>
                <a:cubicBezTo>
                  <a:pt x="739775" y="175459"/>
                  <a:pt x="739775" y="175459"/>
                  <a:pt x="678656" y="210424"/>
                </a:cubicBezTo>
                <a:cubicBezTo>
                  <a:pt x="678656" y="210424"/>
                  <a:pt x="678656" y="210424"/>
                  <a:pt x="617537" y="175459"/>
                </a:cubicBezTo>
                <a:cubicBezTo>
                  <a:pt x="617537" y="175459"/>
                  <a:pt x="617537" y="175459"/>
                  <a:pt x="617537" y="104101"/>
                </a:cubicBezTo>
                <a:cubicBezTo>
                  <a:pt x="617537" y="104101"/>
                  <a:pt x="617537" y="104101"/>
                  <a:pt x="678656" y="69136"/>
                </a:cubicBezTo>
                <a:close/>
                <a:moveTo>
                  <a:pt x="678656" y="34211"/>
                </a:moveTo>
                <a:cubicBezTo>
                  <a:pt x="678656" y="34211"/>
                  <a:pt x="678656" y="34211"/>
                  <a:pt x="585787" y="87789"/>
                </a:cubicBezTo>
                <a:cubicBezTo>
                  <a:pt x="585787" y="87789"/>
                  <a:pt x="585787" y="87789"/>
                  <a:pt x="585787" y="194946"/>
                </a:cubicBezTo>
                <a:cubicBezTo>
                  <a:pt x="585787" y="194946"/>
                  <a:pt x="585787" y="194946"/>
                  <a:pt x="678656" y="248524"/>
                </a:cubicBezTo>
                <a:cubicBezTo>
                  <a:pt x="678656" y="248524"/>
                  <a:pt x="678656" y="248524"/>
                  <a:pt x="771525" y="194946"/>
                </a:cubicBezTo>
                <a:cubicBezTo>
                  <a:pt x="771525" y="194946"/>
                  <a:pt x="771525" y="194946"/>
                  <a:pt x="771525" y="87789"/>
                </a:cubicBezTo>
                <a:cubicBezTo>
                  <a:pt x="771525" y="87789"/>
                  <a:pt x="771525" y="87789"/>
                  <a:pt x="678656" y="34211"/>
                </a:cubicBezTo>
                <a:close/>
                <a:moveTo>
                  <a:pt x="670778" y="2140"/>
                </a:moveTo>
                <a:cubicBezTo>
                  <a:pt x="675075" y="-714"/>
                  <a:pt x="681521" y="-714"/>
                  <a:pt x="686534" y="2140"/>
                </a:cubicBezTo>
                <a:cubicBezTo>
                  <a:pt x="686534" y="2140"/>
                  <a:pt x="686534" y="2140"/>
                  <a:pt x="795397" y="64210"/>
                </a:cubicBezTo>
                <a:cubicBezTo>
                  <a:pt x="799694" y="67064"/>
                  <a:pt x="803275" y="72058"/>
                  <a:pt x="803275" y="77766"/>
                </a:cubicBezTo>
                <a:cubicBezTo>
                  <a:pt x="803275" y="77766"/>
                  <a:pt x="803275" y="77766"/>
                  <a:pt x="803275" y="203334"/>
                </a:cubicBezTo>
                <a:cubicBezTo>
                  <a:pt x="803275" y="209042"/>
                  <a:pt x="799694" y="214036"/>
                  <a:pt x="795397" y="216890"/>
                </a:cubicBezTo>
                <a:cubicBezTo>
                  <a:pt x="795397" y="216890"/>
                  <a:pt x="795397" y="216890"/>
                  <a:pt x="694413" y="274680"/>
                </a:cubicBezTo>
                <a:cubicBezTo>
                  <a:pt x="694413" y="274680"/>
                  <a:pt x="694413" y="274680"/>
                  <a:pt x="694413" y="392400"/>
                </a:cubicBezTo>
                <a:cubicBezTo>
                  <a:pt x="710169" y="393113"/>
                  <a:pt x="726642" y="394540"/>
                  <a:pt x="742398" y="397394"/>
                </a:cubicBezTo>
                <a:cubicBezTo>
                  <a:pt x="750993" y="398107"/>
                  <a:pt x="756722" y="406669"/>
                  <a:pt x="755290" y="415230"/>
                </a:cubicBezTo>
                <a:cubicBezTo>
                  <a:pt x="754574" y="423792"/>
                  <a:pt x="745979" y="429499"/>
                  <a:pt x="737385" y="428072"/>
                </a:cubicBezTo>
                <a:cubicBezTo>
                  <a:pt x="698710" y="422365"/>
                  <a:pt x="657886" y="422365"/>
                  <a:pt x="619212" y="428072"/>
                </a:cubicBezTo>
                <a:cubicBezTo>
                  <a:pt x="618495" y="428072"/>
                  <a:pt x="617779" y="428072"/>
                  <a:pt x="617063" y="428072"/>
                </a:cubicBezTo>
                <a:cubicBezTo>
                  <a:pt x="609185" y="428072"/>
                  <a:pt x="602739" y="423078"/>
                  <a:pt x="601307" y="415230"/>
                </a:cubicBezTo>
                <a:cubicBezTo>
                  <a:pt x="599874" y="406669"/>
                  <a:pt x="605604" y="398107"/>
                  <a:pt x="614198" y="397394"/>
                </a:cubicBezTo>
                <a:cubicBezTo>
                  <a:pt x="630671" y="394540"/>
                  <a:pt x="646427" y="393113"/>
                  <a:pt x="662900" y="392400"/>
                </a:cubicBezTo>
                <a:cubicBezTo>
                  <a:pt x="662900" y="392400"/>
                  <a:pt x="662900" y="392400"/>
                  <a:pt x="662900" y="274680"/>
                </a:cubicBezTo>
                <a:cubicBezTo>
                  <a:pt x="662900" y="274680"/>
                  <a:pt x="662900" y="274680"/>
                  <a:pt x="561915" y="216890"/>
                </a:cubicBezTo>
                <a:cubicBezTo>
                  <a:pt x="556902" y="214036"/>
                  <a:pt x="554037" y="209042"/>
                  <a:pt x="554037" y="203334"/>
                </a:cubicBezTo>
                <a:cubicBezTo>
                  <a:pt x="554037" y="203334"/>
                  <a:pt x="554037" y="203334"/>
                  <a:pt x="554037" y="77766"/>
                </a:cubicBezTo>
                <a:cubicBezTo>
                  <a:pt x="554037" y="72058"/>
                  <a:pt x="556902" y="67064"/>
                  <a:pt x="561915" y="64210"/>
                </a:cubicBezTo>
                <a:cubicBezTo>
                  <a:pt x="561915" y="64210"/>
                  <a:pt x="561915" y="64210"/>
                  <a:pt x="670778" y="21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950" dirty="0"/>
          </a:p>
        </p:txBody>
      </p:sp>
      <p:sp>
        <p:nvSpPr>
          <p:cNvPr id="394" name="Rectangle 393"/>
          <p:cNvSpPr/>
          <p:nvPr/>
        </p:nvSpPr>
        <p:spPr>
          <a:xfrm>
            <a:off x="952448" y="4500003"/>
            <a:ext cx="8544168" cy="234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rgbClr val="0166B6">
                  <a:alpha val="15000"/>
                </a:srgbClr>
              </a:gs>
            </a:gsLst>
            <a:lin ang="10800000" scaled="0"/>
          </a:gradFill>
          <a:ln w="19050">
            <a:noFill/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dirty="0">
                <a:latin typeface="Calibri" panose="020F0502020204030204" pitchFamily="34" charset="0"/>
              </a:rPr>
              <a:t>Internet rzeczy</a:t>
            </a:r>
            <a:endParaRPr lang="en-US" altLang="pl-PL" sz="1083" b="1" dirty="0">
              <a:latin typeface="Calibri" panose="020F0502020204030204" pitchFamily="34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3314818" y="1790819"/>
            <a:ext cx="6421956" cy="3604602"/>
            <a:chOff x="3487810" y="1059582"/>
            <a:chExt cx="5355965" cy="3327325"/>
          </a:xfrm>
        </p:grpSpPr>
        <p:sp>
          <p:nvSpPr>
            <p:cNvPr id="188" name="Rectangle 187"/>
            <p:cNvSpPr/>
            <p:nvPr/>
          </p:nvSpPr>
          <p:spPr>
            <a:xfrm>
              <a:off x="3498136" y="1059582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Opracowanie koncepcji cyfryzacji usług publicznych</a:t>
              </a:r>
              <a:endParaRPr lang="en-US" sz="1083" i="1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8" name="Rectangle 167"/>
            <p:cNvSpPr/>
            <p:nvPr/>
          </p:nvSpPr>
          <p:spPr>
            <a:xfrm>
              <a:off x="3498133" y="1654763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Promocja technologii </a:t>
              </a:r>
              <a:r>
                <a:rPr lang="pl-PL" altLang="pl-PL" sz="1083" i="1" dirty="0" err="1">
                  <a:solidFill>
                    <a:srgbClr val="0166B6"/>
                  </a:solidFill>
                  <a:latin typeface="Calibri" panose="020F0502020204030204" pitchFamily="34" charset="0"/>
                </a:rPr>
                <a:t>blockchain</a:t>
              </a: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 i rozprzestrzenienie jej zastosowania</a:t>
              </a:r>
              <a:endParaRPr lang="en-US" sz="1083" i="1" dirty="0">
                <a:solidFill>
                  <a:srgbClr val="0166B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9" name="Rectangle 168"/>
            <p:cNvSpPr/>
            <p:nvPr/>
          </p:nvSpPr>
          <p:spPr>
            <a:xfrm>
              <a:off x="3487810" y="1352943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Zmniejszenie obciążenia raportowego i ułatwienie dostępu do publicznych zasobów informacji</a:t>
              </a:r>
              <a:endParaRPr lang="en-US" sz="1083" i="1" dirty="0">
                <a:latin typeface="Calibri" panose="020F0502020204030204" pitchFamily="34" charset="0"/>
              </a:endParaRPr>
            </a:p>
          </p:txBody>
        </p:sp>
        <p:sp>
          <p:nvSpPr>
            <p:cNvPr id="236" name="Rectangle 3"/>
            <p:cNvSpPr/>
            <p:nvPr/>
          </p:nvSpPr>
          <p:spPr>
            <a:xfrm>
              <a:off x="3498136" y="2645870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Cyfryzacja obiegu dokumentów w zamówieniach publicznych i obrocie gospodarczym</a:t>
              </a:r>
              <a:endParaRPr lang="en-US" sz="1083" i="1" dirty="0">
                <a:solidFill>
                  <a:srgbClr val="0166B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37" name="Rectangle 236"/>
            <p:cNvSpPr/>
            <p:nvPr/>
          </p:nvSpPr>
          <p:spPr>
            <a:xfrm>
              <a:off x="3498136" y="2240556"/>
              <a:ext cx="5344927" cy="324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Zwiększenie akceptowalności płatności bezgotówkowych i redukcja szarej strefy w gospodarce oraz opracowanie zasad funkcjonowania płatności bezgotówkowych w administracji</a:t>
              </a:r>
              <a:endParaRPr lang="en-US" sz="1083" i="1" dirty="0">
                <a:solidFill>
                  <a:srgbClr val="0166B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2" name="Rectangle 171"/>
            <p:cNvSpPr/>
            <p:nvPr/>
          </p:nvSpPr>
          <p:spPr>
            <a:xfrm>
              <a:off x="3498848" y="1943877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Centralizacja systemów zarządzania ruchem i pobierania opłat oraz udrożnienie łańcucha dostaw</a:t>
              </a:r>
              <a:endParaRPr lang="en-US" sz="1083" i="1" dirty="0">
                <a:solidFill>
                  <a:srgbClr val="0166B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7" name="Rectangle 166"/>
            <p:cNvSpPr/>
            <p:nvPr/>
          </p:nvSpPr>
          <p:spPr>
            <a:xfrm>
              <a:off x="3498133" y="3877296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Budowa węzła krajowego e-ID umożliwiającego cyfrową identyfikację i uwierzytelnienie obywateli</a:t>
              </a:r>
              <a:endParaRPr lang="en-US" sz="1083" i="1" dirty="0">
                <a:solidFill>
                  <a:srgbClr val="0166B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0" name="Rectangle 12"/>
            <p:cNvSpPr/>
            <p:nvPr/>
          </p:nvSpPr>
          <p:spPr>
            <a:xfrm>
              <a:off x="3498133" y="4170907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606060"/>
                  </a:solidFill>
                  <a:latin typeface="Calibri" panose="020F0502020204030204" pitchFamily="34" charset="0"/>
                </a:rPr>
                <a:t>Wsparcie informatyczne pozostałych strumieni programu</a:t>
              </a:r>
            </a:p>
          </p:txBody>
        </p:sp>
        <p:sp>
          <p:nvSpPr>
            <p:cNvPr id="285" name="Rectangle 284"/>
            <p:cNvSpPr/>
            <p:nvPr/>
          </p:nvSpPr>
          <p:spPr>
            <a:xfrm>
              <a:off x="3498848" y="2936131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Cyfrowa platforma edukacyjna oraz lepsze dostosowanie procesu kształcenia do potrzeb nowoczesnej gospodarki</a:t>
              </a:r>
              <a:endParaRPr lang="en-US" sz="1083" i="1" dirty="0">
                <a:solidFill>
                  <a:srgbClr val="0166B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86" name="Rectangle 385"/>
            <p:cNvSpPr/>
            <p:nvPr/>
          </p:nvSpPr>
          <p:spPr>
            <a:xfrm>
              <a:off x="3498133" y="3236732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Budowa środowiska dla lepszego rozwoju i wykorzystania Sztucznej Inteligencji w Polsce</a:t>
              </a:r>
              <a:endParaRPr lang="en-US" sz="1083" i="1" dirty="0">
                <a:solidFill>
                  <a:srgbClr val="0166B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95" name="Rectangle 394"/>
            <p:cNvSpPr/>
            <p:nvPr/>
          </p:nvSpPr>
          <p:spPr>
            <a:xfrm>
              <a:off x="3498133" y="3560368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Zniesienie barier prawny oraz wprowadzenie regulacji stymulujących rynek w zakresie Internetu Rzeczy</a:t>
              </a:r>
              <a:endParaRPr lang="en-US" sz="1083" i="1" dirty="0">
                <a:solidFill>
                  <a:srgbClr val="0166B6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189" name="Title 1"/>
          <p:cNvSpPr txBox="1">
            <a:spLocks/>
          </p:cNvSpPr>
          <p:nvPr/>
        </p:nvSpPr>
        <p:spPr bwMode="auto">
          <a:xfrm>
            <a:off x="454025" y="295275"/>
            <a:ext cx="807243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0D568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pl-PL" altLang="en-US" dirty="0">
                <a:solidFill>
                  <a:srgbClr val="0166B6"/>
                </a:solidFill>
              </a:rPr>
              <a:t>W Programie funkcjonuje </a:t>
            </a:r>
            <a:r>
              <a:rPr lang="pl-PL" altLang="en-US" dirty="0" smtClean="0">
                <a:solidFill>
                  <a:srgbClr val="0166B6"/>
                </a:solidFill>
              </a:rPr>
              <a:t>aktualnie </a:t>
            </a:r>
            <a:r>
              <a:rPr lang="pl-PL" altLang="en-US" dirty="0" smtClean="0">
                <a:solidFill>
                  <a:srgbClr val="DC6E00"/>
                </a:solidFill>
              </a:rPr>
              <a:t>9 </a:t>
            </a:r>
            <a:r>
              <a:rPr lang="pl-PL" altLang="en-US" dirty="0">
                <a:solidFill>
                  <a:srgbClr val="DC6E00"/>
                </a:solidFill>
              </a:rPr>
              <a:t>strumieni </a:t>
            </a:r>
            <a:r>
              <a:rPr lang="pl-PL" altLang="en-US" dirty="0" smtClean="0">
                <a:solidFill>
                  <a:srgbClr val="DC6E00"/>
                </a:solidFill>
              </a:rPr>
              <a:t>roboczych</a:t>
            </a:r>
            <a:endParaRPr lang="pl-PL" altLang="en-US" dirty="0" smtClean="0">
              <a:solidFill>
                <a:srgbClr val="0166B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7059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9098295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462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56874" lvl="3" indent="-194331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biznesowy: Marcin Kraska (ILiM)</a:t>
            </a: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i: Tomasz Napiórkowski (MC)</a:t>
            </a:r>
            <a:endParaRPr lang="pl-PL" sz="1517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 smtClean="0">
                <a:solidFill>
                  <a:srgbClr val="0166B6"/>
                </a:solidFill>
              </a:rPr>
              <a:t>Strumień</a:t>
            </a:r>
            <a:r>
              <a:rPr lang="pl-PL" altLang="pl-PL" dirty="0" smtClean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Cyfrowe Usługi Publiczne </a:t>
            </a:r>
            <a:r>
              <a:rPr lang="pl-PL" altLang="pl-PL" dirty="0" smtClean="0">
                <a:solidFill>
                  <a:srgbClr val="0166B6"/>
                </a:solidFill>
              </a:rPr>
              <a:t>wspiera prace nad cyfryzacją usług publicznych</a:t>
            </a:r>
          </a:p>
        </p:txBody>
      </p:sp>
      <p:sp>
        <p:nvSpPr>
          <p:cNvPr id="52" name="FlowTriangle"/>
          <p:cNvSpPr>
            <a:spLocks noChangeArrowheads="1"/>
          </p:cNvSpPr>
          <p:nvPr/>
        </p:nvSpPr>
        <p:spPr bwMode="gray">
          <a:xfrm rot="5400000">
            <a:off x="4122663" y="4273847"/>
            <a:ext cx="1738709" cy="234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84419" tIns="42210" rIns="84419" bIns="42210" anchor="ctr"/>
          <a:lstStyle/>
          <a:p>
            <a:pPr algn="ctr">
              <a:defRPr/>
            </a:pPr>
            <a:endParaRPr lang="pl-PL" sz="13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22" name="Text Placeholder 2"/>
          <p:cNvSpPr txBox="1">
            <a:spLocks/>
          </p:cNvSpPr>
          <p:nvPr/>
        </p:nvSpPr>
        <p:spPr bwMode="auto">
          <a:xfrm>
            <a:off x="5202371" y="3380703"/>
            <a:ext cx="4287440" cy="2016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500" tIns="11700" rIns="19500" bIns="11700">
            <a:spAutoFit/>
          </a:bodyPr>
          <a:lstStyle/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latin typeface="Calibri" pitchFamily="34" charset="0"/>
              </a:rPr>
              <a:t>Opracowanie i wdrożenie nowych e-usług:</a:t>
            </a:r>
          </a:p>
          <a:p>
            <a:pPr marL="711972" lvl="2" indent="-190892">
              <a:spcAft>
                <a:spcPts val="325"/>
              </a:spcAft>
              <a:buClr>
                <a:srgbClr val="0D5681"/>
              </a:buClr>
              <a:buFont typeface="Wingdings" pitchFamily="2" charset="2"/>
              <a:buChar char="ü"/>
            </a:pPr>
            <a:r>
              <a:rPr lang="pl-PL" altLang="pl-PL" sz="1300" dirty="0">
                <a:latin typeface="Calibri" pitchFamily="34" charset="0"/>
              </a:rPr>
              <a:t>Sprawdzenie punktów karnych online</a:t>
            </a:r>
          </a:p>
          <a:p>
            <a:pPr marL="711972" lvl="2" indent="-190892">
              <a:spcAft>
                <a:spcPts val="325"/>
              </a:spcAft>
              <a:buClr>
                <a:srgbClr val="0D5681"/>
              </a:buClr>
              <a:buFont typeface="Wingdings" pitchFamily="2" charset="2"/>
              <a:buChar char="ü"/>
            </a:pPr>
            <a:r>
              <a:rPr lang="pl-PL" altLang="pl-PL" sz="1300" dirty="0">
                <a:latin typeface="Calibri" pitchFamily="34" charset="0"/>
              </a:rPr>
              <a:t>Wniosek o wydanie dowodu osobistego</a:t>
            </a:r>
          </a:p>
          <a:p>
            <a:pPr marL="711972" lvl="2" indent="-190892">
              <a:spcAft>
                <a:spcPts val="325"/>
              </a:spcAft>
              <a:buClr>
                <a:srgbClr val="0D5681"/>
              </a:buClr>
              <a:buFont typeface="Wingdings" pitchFamily="2" charset="2"/>
              <a:buChar char="ü"/>
            </a:pPr>
            <a:r>
              <a:rPr lang="pl-PL" altLang="pl-PL" sz="1300" dirty="0">
                <a:latin typeface="Calibri" pitchFamily="34" charset="0"/>
              </a:rPr>
              <a:t>Wniosek o sporządzenie zeznania podatkowego przez US (PIT-WZ)</a:t>
            </a:r>
          </a:p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latin typeface="Calibri" pitchFamily="34" charset="0"/>
              </a:rPr>
              <a:t>Uproszczenia procedury rejestracji pojazdu </a:t>
            </a:r>
            <a:r>
              <a:rPr lang="pl-PL" altLang="pl-PL" sz="1300" dirty="0">
                <a:latin typeface="Calibri" pitchFamily="34" charset="0"/>
              </a:rPr>
              <a:t>sprowadzanego z Unii Europejskiej</a:t>
            </a:r>
          </a:p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latin typeface="Calibri" pitchFamily="34" charset="0"/>
              </a:rPr>
              <a:t>Opracowanie propozycji usprawnień </a:t>
            </a:r>
            <a:r>
              <a:rPr lang="pl-PL" altLang="pl-PL" sz="1300" dirty="0">
                <a:latin typeface="Calibri" pitchFamily="34" charset="0"/>
              </a:rPr>
              <a:t>dla 6 istniejących </a:t>
            </a:r>
            <a:br>
              <a:rPr lang="pl-PL" altLang="pl-PL" sz="1300" dirty="0">
                <a:latin typeface="Calibri" pitchFamily="34" charset="0"/>
              </a:rPr>
            </a:br>
            <a:r>
              <a:rPr lang="pl-PL" altLang="pl-PL" sz="1300" dirty="0">
                <a:latin typeface="Calibri" pitchFamily="34" charset="0"/>
              </a:rPr>
              <a:t>e-usług </a:t>
            </a: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357156" y="3008171"/>
            <a:ext cx="2702708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6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grpSp>
        <p:nvGrpSpPr>
          <p:cNvPr id="13328" name="Group 31"/>
          <p:cNvGrpSpPr>
            <a:grpSpLocks/>
          </p:cNvGrpSpPr>
          <p:nvPr/>
        </p:nvGrpSpPr>
        <p:grpSpPr bwMode="auto">
          <a:xfrm>
            <a:off x="686197" y="1963700"/>
            <a:ext cx="702000" cy="624000"/>
            <a:chOff x="1019177" y="1648406"/>
            <a:chExt cx="869682" cy="740783"/>
          </a:xfrm>
        </p:grpSpPr>
        <p:grpSp>
          <p:nvGrpSpPr>
            <p:cNvPr id="13330" name="Group 16"/>
            <p:cNvGrpSpPr>
              <a:grpSpLocks noChangeAspect="1"/>
            </p:cNvGrpSpPr>
            <p:nvPr/>
          </p:nvGrpSpPr>
          <p:grpSpPr bwMode="auto">
            <a:xfrm>
              <a:off x="1019177" y="1648406"/>
              <a:ext cx="771027" cy="740783"/>
              <a:chOff x="1055" y="1007"/>
              <a:chExt cx="267" cy="257"/>
            </a:xfrm>
          </p:grpSpPr>
          <p:sp>
            <p:nvSpPr>
              <p:cNvPr id="13332" name="Freeform 18"/>
              <p:cNvSpPr>
                <a:spLocks/>
              </p:cNvSpPr>
              <p:nvPr/>
            </p:nvSpPr>
            <p:spPr bwMode="auto">
              <a:xfrm>
                <a:off x="1131" y="1007"/>
                <a:ext cx="97" cy="68"/>
              </a:xfrm>
              <a:custGeom>
                <a:avLst/>
                <a:gdLst>
                  <a:gd name="T0" fmla="*/ 0 w 1075"/>
                  <a:gd name="T1" fmla="*/ 0 h 748"/>
                  <a:gd name="T2" fmla="*/ 0 w 1075"/>
                  <a:gd name="T3" fmla="*/ 0 h 748"/>
                  <a:gd name="T4" fmla="*/ 0 w 1075"/>
                  <a:gd name="T5" fmla="*/ 0 h 748"/>
                  <a:gd name="T6" fmla="*/ 0 w 1075"/>
                  <a:gd name="T7" fmla="*/ 0 h 748"/>
                  <a:gd name="T8" fmla="*/ 0 w 1075"/>
                  <a:gd name="T9" fmla="*/ 0 h 748"/>
                  <a:gd name="T10" fmla="*/ 0 w 1075"/>
                  <a:gd name="T11" fmla="*/ 0 h 748"/>
                  <a:gd name="T12" fmla="*/ 0 w 1075"/>
                  <a:gd name="T13" fmla="*/ 0 h 748"/>
                  <a:gd name="T14" fmla="*/ 0 w 1075"/>
                  <a:gd name="T15" fmla="*/ 0 h 748"/>
                  <a:gd name="T16" fmla="*/ 0 w 1075"/>
                  <a:gd name="T17" fmla="*/ 0 h 748"/>
                  <a:gd name="T18" fmla="*/ 0 w 1075"/>
                  <a:gd name="T19" fmla="*/ 0 h 748"/>
                  <a:gd name="T20" fmla="*/ 0 w 1075"/>
                  <a:gd name="T21" fmla="*/ 0 h 748"/>
                  <a:gd name="T22" fmla="*/ 0 w 1075"/>
                  <a:gd name="T23" fmla="*/ 0 h 748"/>
                  <a:gd name="T24" fmla="*/ 0 w 1075"/>
                  <a:gd name="T25" fmla="*/ 0 h 748"/>
                  <a:gd name="T26" fmla="*/ 0 w 1075"/>
                  <a:gd name="T27" fmla="*/ 0 h 748"/>
                  <a:gd name="T28" fmla="*/ 0 w 1075"/>
                  <a:gd name="T29" fmla="*/ 0 h 748"/>
                  <a:gd name="T30" fmla="*/ 0 w 1075"/>
                  <a:gd name="T31" fmla="*/ 0 h 748"/>
                  <a:gd name="T32" fmla="*/ 0 w 1075"/>
                  <a:gd name="T33" fmla="*/ 0 h 748"/>
                  <a:gd name="T34" fmla="*/ 0 w 1075"/>
                  <a:gd name="T35" fmla="*/ 0 h 748"/>
                  <a:gd name="T36" fmla="*/ 0 w 1075"/>
                  <a:gd name="T37" fmla="*/ 0 h 748"/>
                  <a:gd name="T38" fmla="*/ 0 w 1075"/>
                  <a:gd name="T39" fmla="*/ 0 h 748"/>
                  <a:gd name="T40" fmla="*/ 0 w 1075"/>
                  <a:gd name="T41" fmla="*/ 0 h 748"/>
                  <a:gd name="T42" fmla="*/ 0 w 1075"/>
                  <a:gd name="T43" fmla="*/ 0 h 748"/>
                  <a:gd name="T44" fmla="*/ 0 w 1075"/>
                  <a:gd name="T45" fmla="*/ 0 h 748"/>
                  <a:gd name="T46" fmla="*/ 0 w 1075"/>
                  <a:gd name="T47" fmla="*/ 0 h 748"/>
                  <a:gd name="T48" fmla="*/ 0 w 1075"/>
                  <a:gd name="T49" fmla="*/ 0 h 748"/>
                  <a:gd name="T50" fmla="*/ 0 w 1075"/>
                  <a:gd name="T51" fmla="*/ 0 h 748"/>
                  <a:gd name="T52" fmla="*/ 0 w 1075"/>
                  <a:gd name="T53" fmla="*/ 0 h 748"/>
                  <a:gd name="T54" fmla="*/ 0 w 1075"/>
                  <a:gd name="T55" fmla="*/ 0 h 748"/>
                  <a:gd name="T56" fmla="*/ 0 w 1075"/>
                  <a:gd name="T57" fmla="*/ 0 h 748"/>
                  <a:gd name="T58" fmla="*/ 0 w 1075"/>
                  <a:gd name="T59" fmla="*/ 0 h 748"/>
                  <a:gd name="T60" fmla="*/ 0 w 1075"/>
                  <a:gd name="T61" fmla="*/ 0 h 748"/>
                  <a:gd name="T62" fmla="*/ 0 w 1075"/>
                  <a:gd name="T63" fmla="*/ 0 h 748"/>
                  <a:gd name="T64" fmla="*/ 0 w 1075"/>
                  <a:gd name="T65" fmla="*/ 0 h 748"/>
                  <a:gd name="T66" fmla="*/ 0 w 1075"/>
                  <a:gd name="T67" fmla="*/ 0 h 748"/>
                  <a:gd name="T68" fmla="*/ 0 w 1075"/>
                  <a:gd name="T69" fmla="*/ 0 h 748"/>
                  <a:gd name="T70" fmla="*/ 0 w 1075"/>
                  <a:gd name="T71" fmla="*/ 0 h 74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5"/>
                  <a:gd name="T109" fmla="*/ 0 h 748"/>
                  <a:gd name="T110" fmla="*/ 1075 w 1075"/>
                  <a:gd name="T111" fmla="*/ 748 h 74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5" h="748">
                    <a:moveTo>
                      <a:pt x="902" y="0"/>
                    </a:moveTo>
                    <a:lnTo>
                      <a:pt x="916" y="4"/>
                    </a:lnTo>
                    <a:lnTo>
                      <a:pt x="928" y="12"/>
                    </a:lnTo>
                    <a:lnTo>
                      <a:pt x="936" y="23"/>
                    </a:lnTo>
                    <a:lnTo>
                      <a:pt x="1071" y="303"/>
                    </a:lnTo>
                    <a:lnTo>
                      <a:pt x="1075" y="317"/>
                    </a:lnTo>
                    <a:lnTo>
                      <a:pt x="1074" y="332"/>
                    </a:lnTo>
                    <a:lnTo>
                      <a:pt x="1068" y="344"/>
                    </a:lnTo>
                    <a:lnTo>
                      <a:pt x="1063" y="350"/>
                    </a:lnTo>
                    <a:lnTo>
                      <a:pt x="1059" y="354"/>
                    </a:lnTo>
                    <a:lnTo>
                      <a:pt x="1045" y="361"/>
                    </a:lnTo>
                    <a:lnTo>
                      <a:pt x="1031" y="363"/>
                    </a:lnTo>
                    <a:lnTo>
                      <a:pt x="721" y="339"/>
                    </a:lnTo>
                    <a:lnTo>
                      <a:pt x="707" y="336"/>
                    </a:lnTo>
                    <a:lnTo>
                      <a:pt x="695" y="328"/>
                    </a:lnTo>
                    <a:lnTo>
                      <a:pt x="686" y="316"/>
                    </a:lnTo>
                    <a:lnTo>
                      <a:pt x="682" y="302"/>
                    </a:lnTo>
                    <a:lnTo>
                      <a:pt x="683" y="288"/>
                    </a:lnTo>
                    <a:lnTo>
                      <a:pt x="690" y="274"/>
                    </a:lnTo>
                    <a:lnTo>
                      <a:pt x="708" y="247"/>
                    </a:lnTo>
                    <a:lnTo>
                      <a:pt x="659" y="243"/>
                    </a:lnTo>
                    <a:lnTo>
                      <a:pt x="609" y="244"/>
                    </a:lnTo>
                    <a:lnTo>
                      <a:pt x="559" y="251"/>
                    </a:lnTo>
                    <a:lnTo>
                      <a:pt x="511" y="265"/>
                    </a:lnTo>
                    <a:lnTo>
                      <a:pt x="465" y="282"/>
                    </a:lnTo>
                    <a:lnTo>
                      <a:pt x="421" y="306"/>
                    </a:lnTo>
                    <a:lnTo>
                      <a:pt x="379" y="334"/>
                    </a:lnTo>
                    <a:lnTo>
                      <a:pt x="342" y="364"/>
                    </a:lnTo>
                    <a:lnTo>
                      <a:pt x="310" y="398"/>
                    </a:lnTo>
                    <a:lnTo>
                      <a:pt x="282" y="435"/>
                    </a:lnTo>
                    <a:lnTo>
                      <a:pt x="258" y="474"/>
                    </a:lnTo>
                    <a:lnTo>
                      <a:pt x="238" y="514"/>
                    </a:lnTo>
                    <a:lnTo>
                      <a:pt x="222" y="558"/>
                    </a:lnTo>
                    <a:lnTo>
                      <a:pt x="212" y="603"/>
                    </a:lnTo>
                    <a:lnTo>
                      <a:pt x="205" y="648"/>
                    </a:lnTo>
                    <a:lnTo>
                      <a:pt x="203" y="695"/>
                    </a:lnTo>
                    <a:lnTo>
                      <a:pt x="202" y="709"/>
                    </a:lnTo>
                    <a:lnTo>
                      <a:pt x="196" y="720"/>
                    </a:lnTo>
                    <a:lnTo>
                      <a:pt x="188" y="730"/>
                    </a:lnTo>
                    <a:lnTo>
                      <a:pt x="177" y="735"/>
                    </a:lnTo>
                    <a:lnTo>
                      <a:pt x="166" y="738"/>
                    </a:lnTo>
                    <a:lnTo>
                      <a:pt x="45" y="748"/>
                    </a:lnTo>
                    <a:lnTo>
                      <a:pt x="33" y="747"/>
                    </a:lnTo>
                    <a:lnTo>
                      <a:pt x="23" y="743"/>
                    </a:lnTo>
                    <a:lnTo>
                      <a:pt x="13" y="737"/>
                    </a:lnTo>
                    <a:lnTo>
                      <a:pt x="7" y="728"/>
                    </a:lnTo>
                    <a:lnTo>
                      <a:pt x="2" y="718"/>
                    </a:lnTo>
                    <a:lnTo>
                      <a:pt x="0" y="707"/>
                    </a:lnTo>
                    <a:lnTo>
                      <a:pt x="1" y="650"/>
                    </a:lnTo>
                    <a:lnTo>
                      <a:pt x="6" y="594"/>
                    </a:lnTo>
                    <a:lnTo>
                      <a:pt x="16" y="540"/>
                    </a:lnTo>
                    <a:lnTo>
                      <a:pt x="32" y="486"/>
                    </a:lnTo>
                    <a:lnTo>
                      <a:pt x="51" y="434"/>
                    </a:lnTo>
                    <a:lnTo>
                      <a:pt x="75" y="384"/>
                    </a:lnTo>
                    <a:lnTo>
                      <a:pt x="104" y="336"/>
                    </a:lnTo>
                    <a:lnTo>
                      <a:pt x="135" y="291"/>
                    </a:lnTo>
                    <a:lnTo>
                      <a:pt x="172" y="248"/>
                    </a:lnTo>
                    <a:lnTo>
                      <a:pt x="211" y="208"/>
                    </a:lnTo>
                    <a:lnTo>
                      <a:pt x="255" y="172"/>
                    </a:lnTo>
                    <a:lnTo>
                      <a:pt x="306" y="136"/>
                    </a:lnTo>
                    <a:lnTo>
                      <a:pt x="360" y="106"/>
                    </a:lnTo>
                    <a:lnTo>
                      <a:pt x="415" y="81"/>
                    </a:lnTo>
                    <a:lnTo>
                      <a:pt x="472" y="62"/>
                    </a:lnTo>
                    <a:lnTo>
                      <a:pt x="531" y="48"/>
                    </a:lnTo>
                    <a:lnTo>
                      <a:pt x="591" y="40"/>
                    </a:lnTo>
                    <a:lnTo>
                      <a:pt x="651" y="38"/>
                    </a:lnTo>
                    <a:lnTo>
                      <a:pt x="712" y="41"/>
                    </a:lnTo>
                    <a:lnTo>
                      <a:pt x="772" y="50"/>
                    </a:lnTo>
                    <a:lnTo>
                      <a:pt x="832" y="65"/>
                    </a:lnTo>
                    <a:lnTo>
                      <a:pt x="865" y="18"/>
                    </a:lnTo>
                    <a:lnTo>
                      <a:pt x="874" y="7"/>
                    </a:lnTo>
                    <a:lnTo>
                      <a:pt x="888" y="2"/>
                    </a:lnTo>
                    <a:lnTo>
                      <a:pt x="9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3" name="Freeform 19"/>
              <p:cNvSpPr>
                <a:spLocks/>
              </p:cNvSpPr>
              <p:nvPr/>
            </p:nvSpPr>
            <p:spPr bwMode="auto">
              <a:xfrm>
                <a:off x="1225" y="1163"/>
                <a:ext cx="97" cy="68"/>
              </a:xfrm>
              <a:custGeom>
                <a:avLst/>
                <a:gdLst>
                  <a:gd name="T0" fmla="*/ 0 w 1074"/>
                  <a:gd name="T1" fmla="*/ 0 h 746"/>
                  <a:gd name="T2" fmla="*/ 0 w 1074"/>
                  <a:gd name="T3" fmla="*/ 0 h 746"/>
                  <a:gd name="T4" fmla="*/ 0 w 1074"/>
                  <a:gd name="T5" fmla="*/ 0 h 746"/>
                  <a:gd name="T6" fmla="*/ 0 w 1074"/>
                  <a:gd name="T7" fmla="*/ 0 h 746"/>
                  <a:gd name="T8" fmla="*/ 0 w 1074"/>
                  <a:gd name="T9" fmla="*/ 0 h 746"/>
                  <a:gd name="T10" fmla="*/ 0 w 1074"/>
                  <a:gd name="T11" fmla="*/ 0 h 746"/>
                  <a:gd name="T12" fmla="*/ 0 w 1074"/>
                  <a:gd name="T13" fmla="*/ 0 h 746"/>
                  <a:gd name="T14" fmla="*/ 0 w 1074"/>
                  <a:gd name="T15" fmla="*/ 0 h 746"/>
                  <a:gd name="T16" fmla="*/ 0 w 1074"/>
                  <a:gd name="T17" fmla="*/ 0 h 746"/>
                  <a:gd name="T18" fmla="*/ 0 w 1074"/>
                  <a:gd name="T19" fmla="*/ 0 h 746"/>
                  <a:gd name="T20" fmla="*/ 0 w 1074"/>
                  <a:gd name="T21" fmla="*/ 0 h 746"/>
                  <a:gd name="T22" fmla="*/ 0 w 1074"/>
                  <a:gd name="T23" fmla="*/ 0 h 746"/>
                  <a:gd name="T24" fmla="*/ 0 w 1074"/>
                  <a:gd name="T25" fmla="*/ 0 h 746"/>
                  <a:gd name="T26" fmla="*/ 0 w 1074"/>
                  <a:gd name="T27" fmla="*/ 0 h 746"/>
                  <a:gd name="T28" fmla="*/ 0 w 1074"/>
                  <a:gd name="T29" fmla="*/ 0 h 746"/>
                  <a:gd name="T30" fmla="*/ 0 w 1074"/>
                  <a:gd name="T31" fmla="*/ 0 h 746"/>
                  <a:gd name="T32" fmla="*/ 0 w 1074"/>
                  <a:gd name="T33" fmla="*/ 0 h 746"/>
                  <a:gd name="T34" fmla="*/ 0 w 1074"/>
                  <a:gd name="T35" fmla="*/ 0 h 746"/>
                  <a:gd name="T36" fmla="*/ 0 w 1074"/>
                  <a:gd name="T37" fmla="*/ 0 h 746"/>
                  <a:gd name="T38" fmla="*/ 0 w 1074"/>
                  <a:gd name="T39" fmla="*/ 0 h 746"/>
                  <a:gd name="T40" fmla="*/ 0 w 1074"/>
                  <a:gd name="T41" fmla="*/ 0 h 746"/>
                  <a:gd name="T42" fmla="*/ 0 w 1074"/>
                  <a:gd name="T43" fmla="*/ 0 h 746"/>
                  <a:gd name="T44" fmla="*/ 0 w 1074"/>
                  <a:gd name="T45" fmla="*/ 0 h 746"/>
                  <a:gd name="T46" fmla="*/ 0 w 1074"/>
                  <a:gd name="T47" fmla="*/ 0 h 746"/>
                  <a:gd name="T48" fmla="*/ 0 w 1074"/>
                  <a:gd name="T49" fmla="*/ 0 h 746"/>
                  <a:gd name="T50" fmla="*/ 0 w 1074"/>
                  <a:gd name="T51" fmla="*/ 0 h 746"/>
                  <a:gd name="T52" fmla="*/ 0 w 1074"/>
                  <a:gd name="T53" fmla="*/ 0 h 746"/>
                  <a:gd name="T54" fmla="*/ 0 w 1074"/>
                  <a:gd name="T55" fmla="*/ 0 h 746"/>
                  <a:gd name="T56" fmla="*/ 0 w 1074"/>
                  <a:gd name="T57" fmla="*/ 0 h 746"/>
                  <a:gd name="T58" fmla="*/ 0 w 1074"/>
                  <a:gd name="T59" fmla="*/ 0 h 746"/>
                  <a:gd name="T60" fmla="*/ 0 w 1074"/>
                  <a:gd name="T61" fmla="*/ 0 h 746"/>
                  <a:gd name="T62" fmla="*/ 0 w 1074"/>
                  <a:gd name="T63" fmla="*/ 0 h 746"/>
                  <a:gd name="T64" fmla="*/ 0 w 1074"/>
                  <a:gd name="T65" fmla="*/ 0 h 746"/>
                  <a:gd name="T66" fmla="*/ 0 w 1074"/>
                  <a:gd name="T67" fmla="*/ 0 h 746"/>
                  <a:gd name="T68" fmla="*/ 0 w 1074"/>
                  <a:gd name="T69" fmla="*/ 0 h 746"/>
                  <a:gd name="T70" fmla="*/ 0 w 1074"/>
                  <a:gd name="T71" fmla="*/ 0 h 7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4"/>
                  <a:gd name="T109" fmla="*/ 0 h 746"/>
                  <a:gd name="T110" fmla="*/ 1074 w 1074"/>
                  <a:gd name="T111" fmla="*/ 746 h 7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4" h="746">
                    <a:moveTo>
                      <a:pt x="1030" y="0"/>
                    </a:moveTo>
                    <a:lnTo>
                      <a:pt x="1040" y="0"/>
                    </a:lnTo>
                    <a:lnTo>
                      <a:pt x="1051" y="4"/>
                    </a:lnTo>
                    <a:lnTo>
                      <a:pt x="1060" y="10"/>
                    </a:lnTo>
                    <a:lnTo>
                      <a:pt x="1068" y="19"/>
                    </a:lnTo>
                    <a:lnTo>
                      <a:pt x="1073" y="28"/>
                    </a:lnTo>
                    <a:lnTo>
                      <a:pt x="1074" y="40"/>
                    </a:lnTo>
                    <a:lnTo>
                      <a:pt x="1074" y="96"/>
                    </a:lnTo>
                    <a:lnTo>
                      <a:pt x="1068" y="152"/>
                    </a:lnTo>
                    <a:lnTo>
                      <a:pt x="1057" y="207"/>
                    </a:lnTo>
                    <a:lnTo>
                      <a:pt x="1043" y="260"/>
                    </a:lnTo>
                    <a:lnTo>
                      <a:pt x="1023" y="313"/>
                    </a:lnTo>
                    <a:lnTo>
                      <a:pt x="1000" y="362"/>
                    </a:lnTo>
                    <a:lnTo>
                      <a:pt x="971" y="410"/>
                    </a:lnTo>
                    <a:lnTo>
                      <a:pt x="940" y="455"/>
                    </a:lnTo>
                    <a:lnTo>
                      <a:pt x="903" y="499"/>
                    </a:lnTo>
                    <a:lnTo>
                      <a:pt x="863" y="538"/>
                    </a:lnTo>
                    <a:lnTo>
                      <a:pt x="820" y="574"/>
                    </a:lnTo>
                    <a:lnTo>
                      <a:pt x="769" y="610"/>
                    </a:lnTo>
                    <a:lnTo>
                      <a:pt x="715" y="640"/>
                    </a:lnTo>
                    <a:lnTo>
                      <a:pt x="659" y="665"/>
                    </a:lnTo>
                    <a:lnTo>
                      <a:pt x="603" y="684"/>
                    </a:lnTo>
                    <a:lnTo>
                      <a:pt x="544" y="698"/>
                    </a:lnTo>
                    <a:lnTo>
                      <a:pt x="484" y="706"/>
                    </a:lnTo>
                    <a:lnTo>
                      <a:pt x="424" y="709"/>
                    </a:lnTo>
                    <a:lnTo>
                      <a:pt x="363" y="705"/>
                    </a:lnTo>
                    <a:lnTo>
                      <a:pt x="302" y="696"/>
                    </a:lnTo>
                    <a:lnTo>
                      <a:pt x="242" y="681"/>
                    </a:lnTo>
                    <a:lnTo>
                      <a:pt x="210" y="728"/>
                    </a:lnTo>
                    <a:lnTo>
                      <a:pt x="199" y="739"/>
                    </a:lnTo>
                    <a:lnTo>
                      <a:pt x="187" y="745"/>
                    </a:lnTo>
                    <a:lnTo>
                      <a:pt x="172" y="746"/>
                    </a:lnTo>
                    <a:lnTo>
                      <a:pt x="158" y="743"/>
                    </a:lnTo>
                    <a:lnTo>
                      <a:pt x="147" y="735"/>
                    </a:lnTo>
                    <a:lnTo>
                      <a:pt x="139" y="723"/>
                    </a:lnTo>
                    <a:lnTo>
                      <a:pt x="3" y="443"/>
                    </a:lnTo>
                    <a:lnTo>
                      <a:pt x="0" y="429"/>
                    </a:lnTo>
                    <a:lnTo>
                      <a:pt x="1" y="415"/>
                    </a:lnTo>
                    <a:lnTo>
                      <a:pt x="6" y="402"/>
                    </a:lnTo>
                    <a:lnTo>
                      <a:pt x="17" y="391"/>
                    </a:lnTo>
                    <a:lnTo>
                      <a:pt x="29" y="385"/>
                    </a:lnTo>
                    <a:lnTo>
                      <a:pt x="44" y="384"/>
                    </a:lnTo>
                    <a:lnTo>
                      <a:pt x="354" y="407"/>
                    </a:lnTo>
                    <a:lnTo>
                      <a:pt x="367" y="410"/>
                    </a:lnTo>
                    <a:lnTo>
                      <a:pt x="380" y="419"/>
                    </a:lnTo>
                    <a:lnTo>
                      <a:pt x="388" y="430"/>
                    </a:lnTo>
                    <a:lnTo>
                      <a:pt x="392" y="444"/>
                    </a:lnTo>
                    <a:lnTo>
                      <a:pt x="391" y="459"/>
                    </a:lnTo>
                    <a:lnTo>
                      <a:pt x="385" y="472"/>
                    </a:lnTo>
                    <a:lnTo>
                      <a:pt x="365" y="501"/>
                    </a:lnTo>
                    <a:lnTo>
                      <a:pt x="416" y="504"/>
                    </a:lnTo>
                    <a:lnTo>
                      <a:pt x="466" y="503"/>
                    </a:lnTo>
                    <a:lnTo>
                      <a:pt x="515" y="495"/>
                    </a:lnTo>
                    <a:lnTo>
                      <a:pt x="563" y="483"/>
                    </a:lnTo>
                    <a:lnTo>
                      <a:pt x="610" y="464"/>
                    </a:lnTo>
                    <a:lnTo>
                      <a:pt x="654" y="441"/>
                    </a:lnTo>
                    <a:lnTo>
                      <a:pt x="696" y="412"/>
                    </a:lnTo>
                    <a:lnTo>
                      <a:pt x="732" y="382"/>
                    </a:lnTo>
                    <a:lnTo>
                      <a:pt x="764" y="348"/>
                    </a:lnTo>
                    <a:lnTo>
                      <a:pt x="793" y="312"/>
                    </a:lnTo>
                    <a:lnTo>
                      <a:pt x="817" y="273"/>
                    </a:lnTo>
                    <a:lnTo>
                      <a:pt x="837" y="232"/>
                    </a:lnTo>
                    <a:lnTo>
                      <a:pt x="851" y="189"/>
                    </a:lnTo>
                    <a:lnTo>
                      <a:pt x="863" y="145"/>
                    </a:lnTo>
                    <a:lnTo>
                      <a:pt x="869" y="98"/>
                    </a:lnTo>
                    <a:lnTo>
                      <a:pt x="871" y="51"/>
                    </a:lnTo>
                    <a:lnTo>
                      <a:pt x="872" y="39"/>
                    </a:lnTo>
                    <a:lnTo>
                      <a:pt x="879" y="27"/>
                    </a:lnTo>
                    <a:lnTo>
                      <a:pt x="887" y="18"/>
                    </a:lnTo>
                    <a:lnTo>
                      <a:pt x="898" y="11"/>
                    </a:lnTo>
                    <a:lnTo>
                      <a:pt x="909" y="9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4" name="Freeform 20"/>
              <p:cNvSpPr>
                <a:spLocks/>
              </p:cNvSpPr>
              <p:nvPr/>
            </p:nvSpPr>
            <p:spPr bwMode="auto">
              <a:xfrm>
                <a:off x="1099" y="1088"/>
                <a:ext cx="80" cy="95"/>
              </a:xfrm>
              <a:custGeom>
                <a:avLst/>
                <a:gdLst>
                  <a:gd name="T0" fmla="*/ 0 w 873"/>
                  <a:gd name="T1" fmla="*/ 0 h 1046"/>
                  <a:gd name="T2" fmla="*/ 0 w 873"/>
                  <a:gd name="T3" fmla="*/ 0 h 1046"/>
                  <a:gd name="T4" fmla="*/ 0 w 873"/>
                  <a:gd name="T5" fmla="*/ 0 h 1046"/>
                  <a:gd name="T6" fmla="*/ 0 w 873"/>
                  <a:gd name="T7" fmla="*/ 0 h 1046"/>
                  <a:gd name="T8" fmla="*/ 0 w 873"/>
                  <a:gd name="T9" fmla="*/ 0 h 1046"/>
                  <a:gd name="T10" fmla="*/ 0 w 873"/>
                  <a:gd name="T11" fmla="*/ 0 h 1046"/>
                  <a:gd name="T12" fmla="*/ 0 w 873"/>
                  <a:gd name="T13" fmla="*/ 0 h 1046"/>
                  <a:gd name="T14" fmla="*/ 0 w 873"/>
                  <a:gd name="T15" fmla="*/ 0 h 1046"/>
                  <a:gd name="T16" fmla="*/ 0 w 873"/>
                  <a:gd name="T17" fmla="*/ 0 h 1046"/>
                  <a:gd name="T18" fmla="*/ 0 w 873"/>
                  <a:gd name="T19" fmla="*/ 0 h 1046"/>
                  <a:gd name="T20" fmla="*/ 0 w 873"/>
                  <a:gd name="T21" fmla="*/ 0 h 1046"/>
                  <a:gd name="T22" fmla="*/ 0 w 873"/>
                  <a:gd name="T23" fmla="*/ 0 h 1046"/>
                  <a:gd name="T24" fmla="*/ 0 w 873"/>
                  <a:gd name="T25" fmla="*/ 0 h 1046"/>
                  <a:gd name="T26" fmla="*/ 0 w 873"/>
                  <a:gd name="T27" fmla="*/ 0 h 1046"/>
                  <a:gd name="T28" fmla="*/ 0 w 873"/>
                  <a:gd name="T29" fmla="*/ 0 h 1046"/>
                  <a:gd name="T30" fmla="*/ 0 w 873"/>
                  <a:gd name="T31" fmla="*/ 0 h 1046"/>
                  <a:gd name="T32" fmla="*/ 0 w 873"/>
                  <a:gd name="T33" fmla="*/ 0 h 1046"/>
                  <a:gd name="T34" fmla="*/ 0 w 873"/>
                  <a:gd name="T35" fmla="*/ 0 h 1046"/>
                  <a:gd name="T36" fmla="*/ 0 w 873"/>
                  <a:gd name="T37" fmla="*/ 0 h 1046"/>
                  <a:gd name="T38" fmla="*/ 0 w 873"/>
                  <a:gd name="T39" fmla="*/ 0 h 1046"/>
                  <a:gd name="T40" fmla="*/ 0 w 873"/>
                  <a:gd name="T41" fmla="*/ 0 h 1046"/>
                  <a:gd name="T42" fmla="*/ 0 w 873"/>
                  <a:gd name="T43" fmla="*/ 0 h 1046"/>
                  <a:gd name="T44" fmla="*/ 0 w 873"/>
                  <a:gd name="T45" fmla="*/ 0 h 1046"/>
                  <a:gd name="T46" fmla="*/ 0 w 873"/>
                  <a:gd name="T47" fmla="*/ 0 h 1046"/>
                  <a:gd name="T48" fmla="*/ 0 w 873"/>
                  <a:gd name="T49" fmla="*/ 0 h 1046"/>
                  <a:gd name="T50" fmla="*/ 0 w 873"/>
                  <a:gd name="T51" fmla="*/ 0 h 1046"/>
                  <a:gd name="T52" fmla="*/ 0 w 873"/>
                  <a:gd name="T53" fmla="*/ 0 h 1046"/>
                  <a:gd name="T54" fmla="*/ 0 w 873"/>
                  <a:gd name="T55" fmla="*/ 0 h 1046"/>
                  <a:gd name="T56" fmla="*/ 0 w 873"/>
                  <a:gd name="T57" fmla="*/ 0 h 1046"/>
                  <a:gd name="T58" fmla="*/ 0 w 873"/>
                  <a:gd name="T59" fmla="*/ 0 h 1046"/>
                  <a:gd name="T60" fmla="*/ 0 w 873"/>
                  <a:gd name="T61" fmla="*/ 0 h 1046"/>
                  <a:gd name="T62" fmla="*/ 0 w 873"/>
                  <a:gd name="T63" fmla="*/ 0 h 1046"/>
                  <a:gd name="T64" fmla="*/ 0 w 873"/>
                  <a:gd name="T65" fmla="*/ 0 h 1046"/>
                  <a:gd name="T66" fmla="*/ 0 w 873"/>
                  <a:gd name="T67" fmla="*/ 0 h 1046"/>
                  <a:gd name="T68" fmla="*/ 0 w 873"/>
                  <a:gd name="T69" fmla="*/ 0 h 1046"/>
                  <a:gd name="T70" fmla="*/ 0 w 873"/>
                  <a:gd name="T71" fmla="*/ 0 h 1046"/>
                  <a:gd name="T72" fmla="*/ 0 w 873"/>
                  <a:gd name="T73" fmla="*/ 0 h 10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73"/>
                  <a:gd name="T112" fmla="*/ 0 h 1046"/>
                  <a:gd name="T113" fmla="*/ 873 w 873"/>
                  <a:gd name="T114" fmla="*/ 1046 h 10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73" h="1046">
                    <a:moveTo>
                      <a:pt x="436" y="0"/>
                    </a:moveTo>
                    <a:lnTo>
                      <a:pt x="493" y="2"/>
                    </a:lnTo>
                    <a:lnTo>
                      <a:pt x="544" y="8"/>
                    </a:lnTo>
                    <a:lnTo>
                      <a:pt x="592" y="18"/>
                    </a:lnTo>
                    <a:lnTo>
                      <a:pt x="638" y="31"/>
                    </a:lnTo>
                    <a:lnTo>
                      <a:pt x="678" y="49"/>
                    </a:lnTo>
                    <a:lnTo>
                      <a:pt x="715" y="70"/>
                    </a:lnTo>
                    <a:lnTo>
                      <a:pt x="748" y="95"/>
                    </a:lnTo>
                    <a:lnTo>
                      <a:pt x="777" y="123"/>
                    </a:lnTo>
                    <a:lnTo>
                      <a:pt x="802" y="156"/>
                    </a:lnTo>
                    <a:lnTo>
                      <a:pt x="823" y="192"/>
                    </a:lnTo>
                    <a:lnTo>
                      <a:pt x="841" y="232"/>
                    </a:lnTo>
                    <a:lnTo>
                      <a:pt x="855" y="276"/>
                    </a:lnTo>
                    <a:lnTo>
                      <a:pt x="864" y="324"/>
                    </a:lnTo>
                    <a:lnTo>
                      <a:pt x="871" y="374"/>
                    </a:lnTo>
                    <a:lnTo>
                      <a:pt x="873" y="429"/>
                    </a:lnTo>
                    <a:lnTo>
                      <a:pt x="871" y="495"/>
                    </a:lnTo>
                    <a:lnTo>
                      <a:pt x="867" y="556"/>
                    </a:lnTo>
                    <a:lnTo>
                      <a:pt x="859" y="611"/>
                    </a:lnTo>
                    <a:lnTo>
                      <a:pt x="849" y="663"/>
                    </a:lnTo>
                    <a:lnTo>
                      <a:pt x="836" y="711"/>
                    </a:lnTo>
                    <a:lnTo>
                      <a:pt x="821" y="754"/>
                    </a:lnTo>
                    <a:lnTo>
                      <a:pt x="805" y="793"/>
                    </a:lnTo>
                    <a:lnTo>
                      <a:pt x="787" y="829"/>
                    </a:lnTo>
                    <a:lnTo>
                      <a:pt x="767" y="861"/>
                    </a:lnTo>
                    <a:lnTo>
                      <a:pt x="746" y="891"/>
                    </a:lnTo>
                    <a:lnTo>
                      <a:pt x="724" y="916"/>
                    </a:lnTo>
                    <a:lnTo>
                      <a:pt x="701" y="939"/>
                    </a:lnTo>
                    <a:lnTo>
                      <a:pt x="678" y="959"/>
                    </a:lnTo>
                    <a:lnTo>
                      <a:pt x="654" y="976"/>
                    </a:lnTo>
                    <a:lnTo>
                      <a:pt x="631" y="990"/>
                    </a:lnTo>
                    <a:lnTo>
                      <a:pt x="608" y="1003"/>
                    </a:lnTo>
                    <a:lnTo>
                      <a:pt x="585" y="1014"/>
                    </a:lnTo>
                    <a:lnTo>
                      <a:pt x="564" y="1023"/>
                    </a:lnTo>
                    <a:lnTo>
                      <a:pt x="543" y="1029"/>
                    </a:lnTo>
                    <a:lnTo>
                      <a:pt x="523" y="1036"/>
                    </a:lnTo>
                    <a:lnTo>
                      <a:pt x="504" y="1040"/>
                    </a:lnTo>
                    <a:lnTo>
                      <a:pt x="489" y="1042"/>
                    </a:lnTo>
                    <a:lnTo>
                      <a:pt x="473" y="1044"/>
                    </a:lnTo>
                    <a:lnTo>
                      <a:pt x="460" y="1046"/>
                    </a:lnTo>
                    <a:lnTo>
                      <a:pt x="451" y="1046"/>
                    </a:lnTo>
                    <a:lnTo>
                      <a:pt x="443" y="1046"/>
                    </a:lnTo>
                    <a:lnTo>
                      <a:pt x="438" y="1046"/>
                    </a:lnTo>
                    <a:lnTo>
                      <a:pt x="436" y="1046"/>
                    </a:lnTo>
                    <a:lnTo>
                      <a:pt x="388" y="1044"/>
                    </a:lnTo>
                    <a:lnTo>
                      <a:pt x="340" y="1037"/>
                    </a:lnTo>
                    <a:lnTo>
                      <a:pt x="297" y="1024"/>
                    </a:lnTo>
                    <a:lnTo>
                      <a:pt x="255" y="1006"/>
                    </a:lnTo>
                    <a:lnTo>
                      <a:pt x="218" y="983"/>
                    </a:lnTo>
                    <a:lnTo>
                      <a:pt x="182" y="955"/>
                    </a:lnTo>
                    <a:lnTo>
                      <a:pt x="149" y="922"/>
                    </a:lnTo>
                    <a:lnTo>
                      <a:pt x="119" y="884"/>
                    </a:lnTo>
                    <a:lnTo>
                      <a:pt x="93" y="842"/>
                    </a:lnTo>
                    <a:lnTo>
                      <a:pt x="70" y="795"/>
                    </a:lnTo>
                    <a:lnTo>
                      <a:pt x="50" y="745"/>
                    </a:lnTo>
                    <a:lnTo>
                      <a:pt x="32" y="689"/>
                    </a:lnTo>
                    <a:lnTo>
                      <a:pt x="19" y="630"/>
                    </a:lnTo>
                    <a:lnTo>
                      <a:pt x="9" y="567"/>
                    </a:lnTo>
                    <a:lnTo>
                      <a:pt x="2" y="500"/>
                    </a:lnTo>
                    <a:lnTo>
                      <a:pt x="0" y="429"/>
                    </a:lnTo>
                    <a:lnTo>
                      <a:pt x="1" y="374"/>
                    </a:lnTo>
                    <a:lnTo>
                      <a:pt x="8" y="324"/>
                    </a:lnTo>
                    <a:lnTo>
                      <a:pt x="17" y="276"/>
                    </a:lnTo>
                    <a:lnTo>
                      <a:pt x="31" y="232"/>
                    </a:lnTo>
                    <a:lnTo>
                      <a:pt x="49" y="192"/>
                    </a:lnTo>
                    <a:lnTo>
                      <a:pt x="71" y="156"/>
                    </a:lnTo>
                    <a:lnTo>
                      <a:pt x="97" y="123"/>
                    </a:lnTo>
                    <a:lnTo>
                      <a:pt x="126" y="95"/>
                    </a:lnTo>
                    <a:lnTo>
                      <a:pt x="160" y="70"/>
                    </a:lnTo>
                    <a:lnTo>
                      <a:pt x="197" y="49"/>
                    </a:lnTo>
                    <a:lnTo>
                      <a:pt x="238" y="31"/>
                    </a:lnTo>
                    <a:lnTo>
                      <a:pt x="283" y="18"/>
                    </a:lnTo>
                    <a:lnTo>
                      <a:pt x="330" y="8"/>
                    </a:lnTo>
                    <a:lnTo>
                      <a:pt x="381" y="2"/>
                    </a:lnTo>
                    <a:lnTo>
                      <a:pt x="43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5" name="Freeform 21"/>
              <p:cNvSpPr>
                <a:spLocks/>
              </p:cNvSpPr>
              <p:nvPr/>
            </p:nvSpPr>
            <p:spPr bwMode="auto">
              <a:xfrm>
                <a:off x="1055" y="1185"/>
                <a:ext cx="168" cy="79"/>
              </a:xfrm>
              <a:custGeom>
                <a:avLst/>
                <a:gdLst>
                  <a:gd name="T0" fmla="*/ 0 w 1849"/>
                  <a:gd name="T1" fmla="*/ 0 h 875"/>
                  <a:gd name="T2" fmla="*/ 0 w 1849"/>
                  <a:gd name="T3" fmla="*/ 0 h 875"/>
                  <a:gd name="T4" fmla="*/ 0 w 1849"/>
                  <a:gd name="T5" fmla="*/ 0 h 875"/>
                  <a:gd name="T6" fmla="*/ 0 w 1849"/>
                  <a:gd name="T7" fmla="*/ 0 h 875"/>
                  <a:gd name="T8" fmla="*/ 0 w 1849"/>
                  <a:gd name="T9" fmla="*/ 0 h 875"/>
                  <a:gd name="T10" fmla="*/ 0 w 1849"/>
                  <a:gd name="T11" fmla="*/ 0 h 875"/>
                  <a:gd name="T12" fmla="*/ 0 w 1849"/>
                  <a:gd name="T13" fmla="*/ 0 h 875"/>
                  <a:gd name="T14" fmla="*/ 0 w 1849"/>
                  <a:gd name="T15" fmla="*/ 0 h 875"/>
                  <a:gd name="T16" fmla="*/ 0 w 1849"/>
                  <a:gd name="T17" fmla="*/ 0 h 875"/>
                  <a:gd name="T18" fmla="*/ 0 w 1849"/>
                  <a:gd name="T19" fmla="*/ 0 h 875"/>
                  <a:gd name="T20" fmla="*/ 0 w 1849"/>
                  <a:gd name="T21" fmla="*/ 0 h 875"/>
                  <a:gd name="T22" fmla="*/ 0 w 1849"/>
                  <a:gd name="T23" fmla="*/ 0 h 875"/>
                  <a:gd name="T24" fmla="*/ 0 w 1849"/>
                  <a:gd name="T25" fmla="*/ 0 h 875"/>
                  <a:gd name="T26" fmla="*/ 0 w 1849"/>
                  <a:gd name="T27" fmla="*/ 0 h 875"/>
                  <a:gd name="T28" fmla="*/ 0 w 1849"/>
                  <a:gd name="T29" fmla="*/ 0 h 875"/>
                  <a:gd name="T30" fmla="*/ 0 w 1849"/>
                  <a:gd name="T31" fmla="*/ 0 h 875"/>
                  <a:gd name="T32" fmla="*/ 0 w 1849"/>
                  <a:gd name="T33" fmla="*/ 0 h 875"/>
                  <a:gd name="T34" fmla="*/ 0 w 1849"/>
                  <a:gd name="T35" fmla="*/ 0 h 875"/>
                  <a:gd name="T36" fmla="*/ 0 w 1849"/>
                  <a:gd name="T37" fmla="*/ 0 h 875"/>
                  <a:gd name="T38" fmla="*/ 0 w 1849"/>
                  <a:gd name="T39" fmla="*/ 0 h 875"/>
                  <a:gd name="T40" fmla="*/ 0 w 1849"/>
                  <a:gd name="T41" fmla="*/ 0 h 875"/>
                  <a:gd name="T42" fmla="*/ 0 w 1849"/>
                  <a:gd name="T43" fmla="*/ 0 h 875"/>
                  <a:gd name="T44" fmla="*/ 0 w 1849"/>
                  <a:gd name="T45" fmla="*/ 0 h 875"/>
                  <a:gd name="T46" fmla="*/ 0 w 1849"/>
                  <a:gd name="T47" fmla="*/ 0 h 875"/>
                  <a:gd name="T48" fmla="*/ 0 w 1849"/>
                  <a:gd name="T49" fmla="*/ 0 h 875"/>
                  <a:gd name="T50" fmla="*/ 0 w 1849"/>
                  <a:gd name="T51" fmla="*/ 0 h 875"/>
                  <a:gd name="T52" fmla="*/ 0 w 1849"/>
                  <a:gd name="T53" fmla="*/ 0 h 875"/>
                  <a:gd name="T54" fmla="*/ 0 w 1849"/>
                  <a:gd name="T55" fmla="*/ 0 h 875"/>
                  <a:gd name="T56" fmla="*/ 0 w 1849"/>
                  <a:gd name="T57" fmla="*/ 0 h 875"/>
                  <a:gd name="T58" fmla="*/ 0 w 1849"/>
                  <a:gd name="T59" fmla="*/ 0 h 875"/>
                  <a:gd name="T60" fmla="*/ 0 w 1849"/>
                  <a:gd name="T61" fmla="*/ 0 h 875"/>
                  <a:gd name="T62" fmla="*/ 0 w 1849"/>
                  <a:gd name="T63" fmla="*/ 0 h 875"/>
                  <a:gd name="T64" fmla="*/ 0 w 1849"/>
                  <a:gd name="T65" fmla="*/ 0 h 875"/>
                  <a:gd name="T66" fmla="*/ 0 w 1849"/>
                  <a:gd name="T67" fmla="*/ 0 h 875"/>
                  <a:gd name="T68" fmla="*/ 0 w 1849"/>
                  <a:gd name="T69" fmla="*/ 0 h 875"/>
                  <a:gd name="T70" fmla="*/ 0 w 1849"/>
                  <a:gd name="T71" fmla="*/ 0 h 875"/>
                  <a:gd name="T72" fmla="*/ 0 w 1849"/>
                  <a:gd name="T73" fmla="*/ 0 h 875"/>
                  <a:gd name="T74" fmla="*/ 0 w 1849"/>
                  <a:gd name="T75" fmla="*/ 0 h 875"/>
                  <a:gd name="T76" fmla="*/ 0 w 1849"/>
                  <a:gd name="T77" fmla="*/ 0 h 875"/>
                  <a:gd name="T78" fmla="*/ 0 w 1849"/>
                  <a:gd name="T79" fmla="*/ 0 h 875"/>
                  <a:gd name="T80" fmla="*/ 0 w 1849"/>
                  <a:gd name="T81" fmla="*/ 0 h 875"/>
                  <a:gd name="T82" fmla="*/ 0 w 1849"/>
                  <a:gd name="T83" fmla="*/ 0 h 875"/>
                  <a:gd name="T84" fmla="*/ 0 w 1849"/>
                  <a:gd name="T85" fmla="*/ 0 h 875"/>
                  <a:gd name="T86" fmla="*/ 0 w 1849"/>
                  <a:gd name="T87" fmla="*/ 0 h 875"/>
                  <a:gd name="T88" fmla="*/ 0 w 1849"/>
                  <a:gd name="T89" fmla="*/ 0 h 875"/>
                  <a:gd name="T90" fmla="*/ 0 w 1849"/>
                  <a:gd name="T91" fmla="*/ 0 h 875"/>
                  <a:gd name="T92" fmla="*/ 0 w 1849"/>
                  <a:gd name="T93" fmla="*/ 0 h 875"/>
                  <a:gd name="T94" fmla="*/ 0 w 1849"/>
                  <a:gd name="T95" fmla="*/ 0 h 875"/>
                  <a:gd name="T96" fmla="*/ 0 w 1849"/>
                  <a:gd name="T97" fmla="*/ 0 h 875"/>
                  <a:gd name="T98" fmla="*/ 0 w 1849"/>
                  <a:gd name="T99" fmla="*/ 0 h 875"/>
                  <a:gd name="T100" fmla="*/ 0 w 1849"/>
                  <a:gd name="T101" fmla="*/ 0 h 875"/>
                  <a:gd name="T102" fmla="*/ 0 w 1849"/>
                  <a:gd name="T103" fmla="*/ 0 h 875"/>
                  <a:gd name="T104" fmla="*/ 0 w 1849"/>
                  <a:gd name="T105" fmla="*/ 0 h 875"/>
                  <a:gd name="T106" fmla="*/ 0 w 1849"/>
                  <a:gd name="T107" fmla="*/ 0 h 875"/>
                  <a:gd name="T108" fmla="*/ 0 w 1849"/>
                  <a:gd name="T109" fmla="*/ 0 h 875"/>
                  <a:gd name="T110" fmla="*/ 0 w 1849"/>
                  <a:gd name="T111" fmla="*/ 0 h 875"/>
                  <a:gd name="T112" fmla="*/ 0 w 1849"/>
                  <a:gd name="T113" fmla="*/ 0 h 875"/>
                  <a:gd name="T114" fmla="*/ 0 w 1849"/>
                  <a:gd name="T115" fmla="*/ 0 h 875"/>
                  <a:gd name="T116" fmla="*/ 0 w 1849"/>
                  <a:gd name="T117" fmla="*/ 0 h 875"/>
                  <a:gd name="T118" fmla="*/ 0 w 1849"/>
                  <a:gd name="T119" fmla="*/ 0 h 875"/>
                  <a:gd name="T120" fmla="*/ 0 w 1849"/>
                  <a:gd name="T121" fmla="*/ 0 h 875"/>
                  <a:gd name="T122" fmla="*/ 0 w 1849"/>
                  <a:gd name="T123" fmla="*/ 0 h 8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49"/>
                  <a:gd name="T187" fmla="*/ 0 h 875"/>
                  <a:gd name="T188" fmla="*/ 1849 w 1849"/>
                  <a:gd name="T189" fmla="*/ 875 h 8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49" h="875">
                    <a:moveTo>
                      <a:pt x="1112" y="0"/>
                    </a:moveTo>
                    <a:lnTo>
                      <a:pt x="1128" y="2"/>
                    </a:lnTo>
                    <a:lnTo>
                      <a:pt x="1143" y="7"/>
                    </a:lnTo>
                    <a:lnTo>
                      <a:pt x="1158" y="16"/>
                    </a:lnTo>
                    <a:lnTo>
                      <a:pt x="1260" y="102"/>
                    </a:lnTo>
                    <a:lnTo>
                      <a:pt x="1696" y="276"/>
                    </a:lnTo>
                    <a:lnTo>
                      <a:pt x="1716" y="287"/>
                    </a:lnTo>
                    <a:lnTo>
                      <a:pt x="1733" y="303"/>
                    </a:lnTo>
                    <a:lnTo>
                      <a:pt x="1748" y="324"/>
                    </a:lnTo>
                    <a:lnTo>
                      <a:pt x="1762" y="350"/>
                    </a:lnTo>
                    <a:lnTo>
                      <a:pt x="1775" y="379"/>
                    </a:lnTo>
                    <a:lnTo>
                      <a:pt x="1786" y="412"/>
                    </a:lnTo>
                    <a:lnTo>
                      <a:pt x="1796" y="446"/>
                    </a:lnTo>
                    <a:lnTo>
                      <a:pt x="1804" y="483"/>
                    </a:lnTo>
                    <a:lnTo>
                      <a:pt x="1811" y="521"/>
                    </a:lnTo>
                    <a:lnTo>
                      <a:pt x="1818" y="560"/>
                    </a:lnTo>
                    <a:lnTo>
                      <a:pt x="1823" y="598"/>
                    </a:lnTo>
                    <a:lnTo>
                      <a:pt x="1828" y="637"/>
                    </a:lnTo>
                    <a:lnTo>
                      <a:pt x="1832" y="675"/>
                    </a:lnTo>
                    <a:lnTo>
                      <a:pt x="1835" y="712"/>
                    </a:lnTo>
                    <a:lnTo>
                      <a:pt x="1838" y="745"/>
                    </a:lnTo>
                    <a:lnTo>
                      <a:pt x="1840" y="778"/>
                    </a:lnTo>
                    <a:lnTo>
                      <a:pt x="1842" y="805"/>
                    </a:lnTo>
                    <a:lnTo>
                      <a:pt x="1844" y="830"/>
                    </a:lnTo>
                    <a:lnTo>
                      <a:pt x="1846" y="850"/>
                    </a:lnTo>
                    <a:lnTo>
                      <a:pt x="1847" y="865"/>
                    </a:lnTo>
                    <a:lnTo>
                      <a:pt x="1849" y="875"/>
                    </a:lnTo>
                    <a:lnTo>
                      <a:pt x="0" y="875"/>
                    </a:lnTo>
                    <a:lnTo>
                      <a:pt x="2" y="865"/>
                    </a:lnTo>
                    <a:lnTo>
                      <a:pt x="3" y="850"/>
                    </a:lnTo>
                    <a:lnTo>
                      <a:pt x="5" y="830"/>
                    </a:lnTo>
                    <a:lnTo>
                      <a:pt x="6" y="805"/>
                    </a:lnTo>
                    <a:lnTo>
                      <a:pt x="8" y="777"/>
                    </a:lnTo>
                    <a:lnTo>
                      <a:pt x="11" y="745"/>
                    </a:lnTo>
                    <a:lnTo>
                      <a:pt x="14" y="712"/>
                    </a:lnTo>
                    <a:lnTo>
                      <a:pt x="17" y="675"/>
                    </a:lnTo>
                    <a:lnTo>
                      <a:pt x="21" y="637"/>
                    </a:lnTo>
                    <a:lnTo>
                      <a:pt x="25" y="598"/>
                    </a:lnTo>
                    <a:lnTo>
                      <a:pt x="30" y="560"/>
                    </a:lnTo>
                    <a:lnTo>
                      <a:pt x="37" y="521"/>
                    </a:lnTo>
                    <a:lnTo>
                      <a:pt x="44" y="483"/>
                    </a:lnTo>
                    <a:lnTo>
                      <a:pt x="54" y="446"/>
                    </a:lnTo>
                    <a:lnTo>
                      <a:pt x="63" y="412"/>
                    </a:lnTo>
                    <a:lnTo>
                      <a:pt x="74" y="379"/>
                    </a:lnTo>
                    <a:lnTo>
                      <a:pt x="86" y="350"/>
                    </a:lnTo>
                    <a:lnTo>
                      <a:pt x="101" y="324"/>
                    </a:lnTo>
                    <a:lnTo>
                      <a:pt x="116" y="303"/>
                    </a:lnTo>
                    <a:lnTo>
                      <a:pt x="133" y="287"/>
                    </a:lnTo>
                    <a:lnTo>
                      <a:pt x="152" y="276"/>
                    </a:lnTo>
                    <a:lnTo>
                      <a:pt x="588" y="102"/>
                    </a:lnTo>
                    <a:lnTo>
                      <a:pt x="690" y="16"/>
                    </a:lnTo>
                    <a:lnTo>
                      <a:pt x="705" y="7"/>
                    </a:lnTo>
                    <a:lnTo>
                      <a:pt x="720" y="2"/>
                    </a:lnTo>
                    <a:lnTo>
                      <a:pt x="737" y="0"/>
                    </a:lnTo>
                    <a:lnTo>
                      <a:pt x="753" y="3"/>
                    </a:lnTo>
                    <a:lnTo>
                      <a:pt x="769" y="9"/>
                    </a:lnTo>
                    <a:lnTo>
                      <a:pt x="782" y="20"/>
                    </a:lnTo>
                    <a:lnTo>
                      <a:pt x="924" y="161"/>
                    </a:lnTo>
                    <a:lnTo>
                      <a:pt x="1067" y="20"/>
                    </a:lnTo>
                    <a:lnTo>
                      <a:pt x="1080" y="9"/>
                    </a:lnTo>
                    <a:lnTo>
                      <a:pt x="1095" y="3"/>
                    </a:lnTo>
                    <a:lnTo>
                      <a:pt x="111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</p:grpSp>
        <p:sp>
          <p:nvSpPr>
            <p:cNvPr id="13331" name="Freeform 63"/>
            <p:cNvSpPr>
              <a:spLocks noChangeAspect="1" noEditPoints="1"/>
            </p:cNvSpPr>
            <p:nvPr/>
          </p:nvSpPr>
          <p:spPr bwMode="auto">
            <a:xfrm>
              <a:off x="1568624" y="1675544"/>
              <a:ext cx="320235" cy="324309"/>
            </a:xfrm>
            <a:custGeom>
              <a:avLst/>
              <a:gdLst>
                <a:gd name="T0" fmla="*/ 2147483647 w 3929"/>
                <a:gd name="T1" fmla="*/ 2147483647 h 3980"/>
                <a:gd name="T2" fmla="*/ 2147483647 w 3929"/>
                <a:gd name="T3" fmla="*/ 2147483647 h 3980"/>
                <a:gd name="T4" fmla="*/ 2147483647 w 3929"/>
                <a:gd name="T5" fmla="*/ 2147483647 h 3980"/>
                <a:gd name="T6" fmla="*/ 2147483647 w 3929"/>
                <a:gd name="T7" fmla="*/ 2147483647 h 3980"/>
                <a:gd name="T8" fmla="*/ 2147483647 w 3929"/>
                <a:gd name="T9" fmla="*/ 2147483647 h 3980"/>
                <a:gd name="T10" fmla="*/ 2147483647 w 3929"/>
                <a:gd name="T11" fmla="*/ 2147483647 h 3980"/>
                <a:gd name="T12" fmla="*/ 2147483647 w 3929"/>
                <a:gd name="T13" fmla="*/ 2147483647 h 3980"/>
                <a:gd name="T14" fmla="*/ 2147483647 w 3929"/>
                <a:gd name="T15" fmla="*/ 2147483647 h 3980"/>
                <a:gd name="T16" fmla="*/ 2147483647 w 3929"/>
                <a:gd name="T17" fmla="*/ 2147483647 h 3980"/>
                <a:gd name="T18" fmla="*/ 2147483647 w 3929"/>
                <a:gd name="T19" fmla="*/ 2147483647 h 3980"/>
                <a:gd name="T20" fmla="*/ 2147483647 w 3929"/>
                <a:gd name="T21" fmla="*/ 2147483647 h 3980"/>
                <a:gd name="T22" fmla="*/ 2147483647 w 3929"/>
                <a:gd name="T23" fmla="*/ 2147483647 h 3980"/>
                <a:gd name="T24" fmla="*/ 2147483647 w 3929"/>
                <a:gd name="T25" fmla="*/ 2147483647 h 3980"/>
                <a:gd name="T26" fmla="*/ 2147483647 w 3929"/>
                <a:gd name="T27" fmla="*/ 2147483647 h 3980"/>
                <a:gd name="T28" fmla="*/ 2147483647 w 3929"/>
                <a:gd name="T29" fmla="*/ 2147483647 h 3980"/>
                <a:gd name="T30" fmla="*/ 2147483647 w 3929"/>
                <a:gd name="T31" fmla="*/ 2147483647 h 3980"/>
                <a:gd name="T32" fmla="*/ 2147483647 w 3929"/>
                <a:gd name="T33" fmla="*/ 2147483647 h 3980"/>
                <a:gd name="T34" fmla="*/ 2147483647 w 3929"/>
                <a:gd name="T35" fmla="*/ 2147483647 h 3980"/>
                <a:gd name="T36" fmla="*/ 2147483647 w 3929"/>
                <a:gd name="T37" fmla="*/ 2147483647 h 3980"/>
                <a:gd name="T38" fmla="*/ 2147483647 w 3929"/>
                <a:gd name="T39" fmla="*/ 2147483647 h 3980"/>
                <a:gd name="T40" fmla="*/ 2147483647 w 3929"/>
                <a:gd name="T41" fmla="*/ 2147483647 h 3980"/>
                <a:gd name="T42" fmla="*/ 2147483647 w 3929"/>
                <a:gd name="T43" fmla="*/ 2147483647 h 3980"/>
                <a:gd name="T44" fmla="*/ 2147483647 w 3929"/>
                <a:gd name="T45" fmla="*/ 2147483647 h 3980"/>
                <a:gd name="T46" fmla="*/ 2147483647 w 3929"/>
                <a:gd name="T47" fmla="*/ 2147483647 h 3980"/>
                <a:gd name="T48" fmla="*/ 2147483647 w 3929"/>
                <a:gd name="T49" fmla="*/ 2147483647 h 3980"/>
                <a:gd name="T50" fmla="*/ 2147483647 w 3929"/>
                <a:gd name="T51" fmla="*/ 2147483647 h 3980"/>
                <a:gd name="T52" fmla="*/ 2147483647 w 3929"/>
                <a:gd name="T53" fmla="*/ 2147483647 h 3980"/>
                <a:gd name="T54" fmla="*/ 2147483647 w 3929"/>
                <a:gd name="T55" fmla="*/ 2147483647 h 3980"/>
                <a:gd name="T56" fmla="*/ 2147483647 w 3929"/>
                <a:gd name="T57" fmla="*/ 2147483647 h 3980"/>
                <a:gd name="T58" fmla="*/ 2147483647 w 3929"/>
                <a:gd name="T59" fmla="*/ 2147483647 h 3980"/>
                <a:gd name="T60" fmla="*/ 2147483647 w 3929"/>
                <a:gd name="T61" fmla="*/ 2147483647 h 3980"/>
                <a:gd name="T62" fmla="*/ 2147483647 w 3929"/>
                <a:gd name="T63" fmla="*/ 2147483647 h 3980"/>
                <a:gd name="T64" fmla="*/ 2147483647 w 3929"/>
                <a:gd name="T65" fmla="*/ 2147483647 h 3980"/>
                <a:gd name="T66" fmla="*/ 2147483647 w 3929"/>
                <a:gd name="T67" fmla="*/ 2147483647 h 3980"/>
                <a:gd name="T68" fmla="*/ 2147483647 w 3929"/>
                <a:gd name="T69" fmla="*/ 2147483647 h 3980"/>
                <a:gd name="T70" fmla="*/ 2147483647 w 3929"/>
                <a:gd name="T71" fmla="*/ 2147483647 h 3980"/>
                <a:gd name="T72" fmla="*/ 2147483647 w 3929"/>
                <a:gd name="T73" fmla="*/ 2147483647 h 3980"/>
                <a:gd name="T74" fmla="*/ 2147483647 w 3929"/>
                <a:gd name="T75" fmla="*/ 2147483647 h 3980"/>
                <a:gd name="T76" fmla="*/ 2147483647 w 3929"/>
                <a:gd name="T77" fmla="*/ 2147483647 h 3980"/>
                <a:gd name="T78" fmla="*/ 2147483647 w 3929"/>
                <a:gd name="T79" fmla="*/ 2147483647 h 3980"/>
                <a:gd name="T80" fmla="*/ 2147483647 w 3929"/>
                <a:gd name="T81" fmla="*/ 2147483647 h 3980"/>
                <a:gd name="T82" fmla="*/ 2147483647 w 3929"/>
                <a:gd name="T83" fmla="*/ 2147483647 h 3980"/>
                <a:gd name="T84" fmla="*/ 2147483647 w 3929"/>
                <a:gd name="T85" fmla="*/ 2147483647 h 3980"/>
                <a:gd name="T86" fmla="*/ 2147483647 w 3929"/>
                <a:gd name="T87" fmla="*/ 2147483647 h 3980"/>
                <a:gd name="T88" fmla="*/ 2147483647 w 3929"/>
                <a:gd name="T89" fmla="*/ 2147483647 h 3980"/>
                <a:gd name="T90" fmla="*/ 2147483647 w 3929"/>
                <a:gd name="T91" fmla="*/ 2147483647 h 3980"/>
                <a:gd name="T92" fmla="*/ 2147483647 w 3929"/>
                <a:gd name="T93" fmla="*/ 2147483647 h 3980"/>
                <a:gd name="T94" fmla="*/ 2147483647 w 3929"/>
                <a:gd name="T95" fmla="*/ 2147483647 h 3980"/>
                <a:gd name="T96" fmla="*/ 2147483647 w 3929"/>
                <a:gd name="T97" fmla="*/ 2147483647 h 3980"/>
                <a:gd name="T98" fmla="*/ 2147483647 w 3929"/>
                <a:gd name="T99" fmla="*/ 2147483647 h 3980"/>
                <a:gd name="T100" fmla="*/ 2147483647 w 3929"/>
                <a:gd name="T101" fmla="*/ 2147483647 h 3980"/>
                <a:gd name="T102" fmla="*/ 2147483647 w 3929"/>
                <a:gd name="T103" fmla="*/ 2147483647 h 3980"/>
                <a:gd name="T104" fmla="*/ 2147483647 w 3929"/>
                <a:gd name="T105" fmla="*/ 2147483647 h 3980"/>
                <a:gd name="T106" fmla="*/ 2147483647 w 3929"/>
                <a:gd name="T107" fmla="*/ 2147483647 h 3980"/>
                <a:gd name="T108" fmla="*/ 2147483647 w 3929"/>
                <a:gd name="T109" fmla="*/ 2147483647 h 3980"/>
                <a:gd name="T110" fmla="*/ 2147483647 w 3929"/>
                <a:gd name="T111" fmla="*/ 2147483647 h 3980"/>
                <a:gd name="T112" fmla="*/ 2147483647 w 3929"/>
                <a:gd name="T113" fmla="*/ 2147483647 h 3980"/>
                <a:gd name="T114" fmla="*/ 2147483647 w 3929"/>
                <a:gd name="T115" fmla="*/ 2147483647 h 3980"/>
                <a:gd name="T116" fmla="*/ 2147483647 w 3929"/>
                <a:gd name="T117" fmla="*/ 2147483647 h 3980"/>
                <a:gd name="T118" fmla="*/ 2147483647 w 3929"/>
                <a:gd name="T119" fmla="*/ 2147483647 h 3980"/>
                <a:gd name="T120" fmla="*/ 2147483647 w 3929"/>
                <a:gd name="T121" fmla="*/ 2147483647 h 3980"/>
                <a:gd name="T122" fmla="*/ 2147483647 w 3929"/>
                <a:gd name="T123" fmla="*/ 2147483647 h 39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29"/>
                <a:gd name="T187" fmla="*/ 0 h 3980"/>
                <a:gd name="T188" fmla="*/ 3929 w 3929"/>
                <a:gd name="T189" fmla="*/ 3980 h 39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29" h="3980">
                  <a:moveTo>
                    <a:pt x="2009" y="1404"/>
                  </a:moveTo>
                  <a:lnTo>
                    <a:pt x="1963" y="1407"/>
                  </a:lnTo>
                  <a:lnTo>
                    <a:pt x="1919" y="1414"/>
                  </a:lnTo>
                  <a:lnTo>
                    <a:pt x="1878" y="1426"/>
                  </a:lnTo>
                  <a:lnTo>
                    <a:pt x="1839" y="1444"/>
                  </a:lnTo>
                  <a:lnTo>
                    <a:pt x="1801" y="1466"/>
                  </a:lnTo>
                  <a:lnTo>
                    <a:pt x="1753" y="1501"/>
                  </a:lnTo>
                  <a:lnTo>
                    <a:pt x="1709" y="1543"/>
                  </a:lnTo>
                  <a:lnTo>
                    <a:pt x="1669" y="1588"/>
                  </a:lnTo>
                  <a:lnTo>
                    <a:pt x="1632" y="1639"/>
                  </a:lnTo>
                  <a:lnTo>
                    <a:pt x="1598" y="1694"/>
                  </a:lnTo>
                  <a:lnTo>
                    <a:pt x="1569" y="1754"/>
                  </a:lnTo>
                  <a:lnTo>
                    <a:pt x="1544" y="1817"/>
                  </a:lnTo>
                  <a:lnTo>
                    <a:pt x="1523" y="1883"/>
                  </a:lnTo>
                  <a:lnTo>
                    <a:pt x="1506" y="1952"/>
                  </a:lnTo>
                  <a:lnTo>
                    <a:pt x="1494" y="2020"/>
                  </a:lnTo>
                  <a:lnTo>
                    <a:pt x="1487" y="2088"/>
                  </a:lnTo>
                  <a:lnTo>
                    <a:pt x="1485" y="2155"/>
                  </a:lnTo>
                  <a:lnTo>
                    <a:pt x="1487" y="2200"/>
                  </a:lnTo>
                  <a:lnTo>
                    <a:pt x="1493" y="2246"/>
                  </a:lnTo>
                  <a:lnTo>
                    <a:pt x="1501" y="2296"/>
                  </a:lnTo>
                  <a:lnTo>
                    <a:pt x="1512" y="2344"/>
                  </a:lnTo>
                  <a:lnTo>
                    <a:pt x="1529" y="2392"/>
                  </a:lnTo>
                  <a:lnTo>
                    <a:pt x="1551" y="2438"/>
                  </a:lnTo>
                  <a:lnTo>
                    <a:pt x="1571" y="2467"/>
                  </a:lnTo>
                  <a:lnTo>
                    <a:pt x="1592" y="2493"/>
                  </a:lnTo>
                  <a:lnTo>
                    <a:pt x="1618" y="2516"/>
                  </a:lnTo>
                  <a:lnTo>
                    <a:pt x="1644" y="2537"/>
                  </a:lnTo>
                  <a:lnTo>
                    <a:pt x="1674" y="2552"/>
                  </a:lnTo>
                  <a:lnTo>
                    <a:pt x="1707" y="2563"/>
                  </a:lnTo>
                  <a:lnTo>
                    <a:pt x="1746" y="2570"/>
                  </a:lnTo>
                  <a:lnTo>
                    <a:pt x="1789" y="2573"/>
                  </a:lnTo>
                  <a:lnTo>
                    <a:pt x="1836" y="2570"/>
                  </a:lnTo>
                  <a:lnTo>
                    <a:pt x="1878" y="2565"/>
                  </a:lnTo>
                  <a:lnTo>
                    <a:pt x="1919" y="2555"/>
                  </a:lnTo>
                  <a:lnTo>
                    <a:pt x="1957" y="2542"/>
                  </a:lnTo>
                  <a:lnTo>
                    <a:pt x="1992" y="2526"/>
                  </a:lnTo>
                  <a:lnTo>
                    <a:pt x="2025" y="2505"/>
                  </a:lnTo>
                  <a:lnTo>
                    <a:pt x="2066" y="2474"/>
                  </a:lnTo>
                  <a:lnTo>
                    <a:pt x="2102" y="2441"/>
                  </a:lnTo>
                  <a:lnTo>
                    <a:pt x="2137" y="2404"/>
                  </a:lnTo>
                  <a:lnTo>
                    <a:pt x="2167" y="2365"/>
                  </a:lnTo>
                  <a:lnTo>
                    <a:pt x="2196" y="2322"/>
                  </a:lnTo>
                  <a:lnTo>
                    <a:pt x="2226" y="2263"/>
                  </a:lnTo>
                  <a:lnTo>
                    <a:pt x="2253" y="2202"/>
                  </a:lnTo>
                  <a:lnTo>
                    <a:pt x="2276" y="2139"/>
                  </a:lnTo>
                  <a:lnTo>
                    <a:pt x="2295" y="2076"/>
                  </a:lnTo>
                  <a:lnTo>
                    <a:pt x="2309" y="2009"/>
                  </a:lnTo>
                  <a:lnTo>
                    <a:pt x="2319" y="1945"/>
                  </a:lnTo>
                  <a:lnTo>
                    <a:pt x="2327" y="1883"/>
                  </a:lnTo>
                  <a:lnTo>
                    <a:pt x="2329" y="1822"/>
                  </a:lnTo>
                  <a:lnTo>
                    <a:pt x="2328" y="1766"/>
                  </a:lnTo>
                  <a:lnTo>
                    <a:pt x="2322" y="1710"/>
                  </a:lnTo>
                  <a:lnTo>
                    <a:pt x="2311" y="1655"/>
                  </a:lnTo>
                  <a:lnTo>
                    <a:pt x="2301" y="1619"/>
                  </a:lnTo>
                  <a:lnTo>
                    <a:pt x="2289" y="1586"/>
                  </a:lnTo>
                  <a:lnTo>
                    <a:pt x="2274" y="1554"/>
                  </a:lnTo>
                  <a:lnTo>
                    <a:pt x="2256" y="1523"/>
                  </a:lnTo>
                  <a:lnTo>
                    <a:pt x="2237" y="1499"/>
                  </a:lnTo>
                  <a:lnTo>
                    <a:pt x="2215" y="1475"/>
                  </a:lnTo>
                  <a:lnTo>
                    <a:pt x="2191" y="1455"/>
                  </a:lnTo>
                  <a:lnTo>
                    <a:pt x="2164" y="1437"/>
                  </a:lnTo>
                  <a:lnTo>
                    <a:pt x="2132" y="1423"/>
                  </a:lnTo>
                  <a:lnTo>
                    <a:pt x="2096" y="1413"/>
                  </a:lnTo>
                  <a:lnTo>
                    <a:pt x="2055" y="1407"/>
                  </a:lnTo>
                  <a:lnTo>
                    <a:pt x="2009" y="1404"/>
                  </a:lnTo>
                  <a:close/>
                  <a:moveTo>
                    <a:pt x="2035" y="0"/>
                  </a:moveTo>
                  <a:lnTo>
                    <a:pt x="2035" y="0"/>
                  </a:lnTo>
                  <a:lnTo>
                    <a:pt x="2155" y="3"/>
                  </a:lnTo>
                  <a:lnTo>
                    <a:pt x="2273" y="11"/>
                  </a:lnTo>
                  <a:lnTo>
                    <a:pt x="2390" y="27"/>
                  </a:lnTo>
                  <a:lnTo>
                    <a:pt x="2505" y="48"/>
                  </a:lnTo>
                  <a:lnTo>
                    <a:pt x="2620" y="76"/>
                  </a:lnTo>
                  <a:lnTo>
                    <a:pt x="2733" y="112"/>
                  </a:lnTo>
                  <a:lnTo>
                    <a:pt x="2829" y="145"/>
                  </a:lnTo>
                  <a:lnTo>
                    <a:pt x="2922" y="183"/>
                  </a:lnTo>
                  <a:lnTo>
                    <a:pt x="3012" y="225"/>
                  </a:lnTo>
                  <a:lnTo>
                    <a:pt x="3099" y="271"/>
                  </a:lnTo>
                  <a:lnTo>
                    <a:pt x="3184" y="322"/>
                  </a:lnTo>
                  <a:lnTo>
                    <a:pt x="3264" y="376"/>
                  </a:lnTo>
                  <a:lnTo>
                    <a:pt x="3342" y="436"/>
                  </a:lnTo>
                  <a:lnTo>
                    <a:pt x="3416" y="500"/>
                  </a:lnTo>
                  <a:lnTo>
                    <a:pt x="3486" y="568"/>
                  </a:lnTo>
                  <a:lnTo>
                    <a:pt x="3552" y="642"/>
                  </a:lnTo>
                  <a:lnTo>
                    <a:pt x="3613" y="719"/>
                  </a:lnTo>
                  <a:lnTo>
                    <a:pt x="3670" y="802"/>
                  </a:lnTo>
                  <a:lnTo>
                    <a:pt x="3722" y="888"/>
                  </a:lnTo>
                  <a:lnTo>
                    <a:pt x="3770" y="978"/>
                  </a:lnTo>
                  <a:lnTo>
                    <a:pt x="3807" y="1061"/>
                  </a:lnTo>
                  <a:lnTo>
                    <a:pt x="3840" y="1147"/>
                  </a:lnTo>
                  <a:lnTo>
                    <a:pt x="3867" y="1237"/>
                  </a:lnTo>
                  <a:lnTo>
                    <a:pt x="3889" y="1331"/>
                  </a:lnTo>
                  <a:lnTo>
                    <a:pt x="3907" y="1428"/>
                  </a:lnTo>
                  <a:lnTo>
                    <a:pt x="3920" y="1528"/>
                  </a:lnTo>
                  <a:lnTo>
                    <a:pt x="3927" y="1631"/>
                  </a:lnTo>
                  <a:lnTo>
                    <a:pt x="3929" y="1738"/>
                  </a:lnTo>
                  <a:lnTo>
                    <a:pt x="3927" y="1842"/>
                  </a:lnTo>
                  <a:lnTo>
                    <a:pt x="3921" y="1943"/>
                  </a:lnTo>
                  <a:lnTo>
                    <a:pt x="3909" y="2041"/>
                  </a:lnTo>
                  <a:lnTo>
                    <a:pt x="3891" y="2134"/>
                  </a:lnTo>
                  <a:lnTo>
                    <a:pt x="3869" y="2224"/>
                  </a:lnTo>
                  <a:lnTo>
                    <a:pt x="3844" y="2310"/>
                  </a:lnTo>
                  <a:lnTo>
                    <a:pt x="3813" y="2391"/>
                  </a:lnTo>
                  <a:lnTo>
                    <a:pt x="3779" y="2468"/>
                  </a:lnTo>
                  <a:lnTo>
                    <a:pt x="3741" y="2541"/>
                  </a:lnTo>
                  <a:lnTo>
                    <a:pt x="3700" y="2608"/>
                  </a:lnTo>
                  <a:lnTo>
                    <a:pt x="3656" y="2673"/>
                  </a:lnTo>
                  <a:lnTo>
                    <a:pt x="3610" y="2733"/>
                  </a:lnTo>
                  <a:lnTo>
                    <a:pt x="3558" y="2789"/>
                  </a:lnTo>
                  <a:lnTo>
                    <a:pt x="3504" y="2839"/>
                  </a:lnTo>
                  <a:lnTo>
                    <a:pt x="3447" y="2886"/>
                  </a:lnTo>
                  <a:lnTo>
                    <a:pt x="3388" y="2927"/>
                  </a:lnTo>
                  <a:lnTo>
                    <a:pt x="3326" y="2964"/>
                  </a:lnTo>
                  <a:lnTo>
                    <a:pt x="3261" y="2996"/>
                  </a:lnTo>
                  <a:lnTo>
                    <a:pt x="3181" y="3027"/>
                  </a:lnTo>
                  <a:lnTo>
                    <a:pt x="3099" y="3051"/>
                  </a:lnTo>
                  <a:lnTo>
                    <a:pt x="3016" y="3068"/>
                  </a:lnTo>
                  <a:lnTo>
                    <a:pt x="2931" y="3079"/>
                  </a:lnTo>
                  <a:lnTo>
                    <a:pt x="2844" y="3082"/>
                  </a:lnTo>
                  <a:lnTo>
                    <a:pt x="2778" y="3081"/>
                  </a:lnTo>
                  <a:lnTo>
                    <a:pt x="2717" y="3073"/>
                  </a:lnTo>
                  <a:lnTo>
                    <a:pt x="2658" y="3062"/>
                  </a:lnTo>
                  <a:lnTo>
                    <a:pt x="2606" y="3046"/>
                  </a:lnTo>
                  <a:lnTo>
                    <a:pt x="2557" y="3025"/>
                  </a:lnTo>
                  <a:lnTo>
                    <a:pt x="2511" y="3001"/>
                  </a:lnTo>
                  <a:lnTo>
                    <a:pt x="2471" y="2971"/>
                  </a:lnTo>
                  <a:lnTo>
                    <a:pt x="2436" y="2938"/>
                  </a:lnTo>
                  <a:lnTo>
                    <a:pt x="2402" y="2903"/>
                  </a:lnTo>
                  <a:lnTo>
                    <a:pt x="2376" y="2866"/>
                  </a:lnTo>
                  <a:lnTo>
                    <a:pt x="2352" y="2825"/>
                  </a:lnTo>
                  <a:lnTo>
                    <a:pt x="2314" y="2862"/>
                  </a:lnTo>
                  <a:lnTo>
                    <a:pt x="2270" y="2898"/>
                  </a:lnTo>
                  <a:lnTo>
                    <a:pt x="2224" y="2932"/>
                  </a:lnTo>
                  <a:lnTo>
                    <a:pt x="2177" y="2962"/>
                  </a:lnTo>
                  <a:lnTo>
                    <a:pt x="2126" y="2990"/>
                  </a:lnTo>
                  <a:lnTo>
                    <a:pt x="2072" y="3014"/>
                  </a:lnTo>
                  <a:lnTo>
                    <a:pt x="2016" y="3038"/>
                  </a:lnTo>
                  <a:lnTo>
                    <a:pt x="1954" y="3057"/>
                  </a:lnTo>
                  <a:lnTo>
                    <a:pt x="1889" y="3071"/>
                  </a:lnTo>
                  <a:lnTo>
                    <a:pt x="1821" y="3079"/>
                  </a:lnTo>
                  <a:lnTo>
                    <a:pt x="1751" y="3082"/>
                  </a:lnTo>
                  <a:lnTo>
                    <a:pt x="1675" y="3079"/>
                  </a:lnTo>
                  <a:lnTo>
                    <a:pt x="1602" y="3071"/>
                  </a:lnTo>
                  <a:lnTo>
                    <a:pt x="1531" y="3055"/>
                  </a:lnTo>
                  <a:lnTo>
                    <a:pt x="1463" y="3035"/>
                  </a:lnTo>
                  <a:lnTo>
                    <a:pt x="1398" y="3008"/>
                  </a:lnTo>
                  <a:lnTo>
                    <a:pt x="1337" y="2978"/>
                  </a:lnTo>
                  <a:lnTo>
                    <a:pt x="1280" y="2942"/>
                  </a:lnTo>
                  <a:lnTo>
                    <a:pt x="1226" y="2902"/>
                  </a:lnTo>
                  <a:lnTo>
                    <a:pt x="1177" y="2857"/>
                  </a:lnTo>
                  <a:lnTo>
                    <a:pt x="1133" y="2809"/>
                  </a:lnTo>
                  <a:lnTo>
                    <a:pt x="1092" y="2758"/>
                  </a:lnTo>
                  <a:lnTo>
                    <a:pt x="1056" y="2701"/>
                  </a:lnTo>
                  <a:lnTo>
                    <a:pt x="1024" y="2643"/>
                  </a:lnTo>
                  <a:lnTo>
                    <a:pt x="994" y="2579"/>
                  </a:lnTo>
                  <a:lnTo>
                    <a:pt x="970" y="2511"/>
                  </a:lnTo>
                  <a:lnTo>
                    <a:pt x="950" y="2443"/>
                  </a:lnTo>
                  <a:lnTo>
                    <a:pt x="936" y="2371"/>
                  </a:lnTo>
                  <a:lnTo>
                    <a:pt x="924" y="2296"/>
                  </a:lnTo>
                  <a:lnTo>
                    <a:pt x="917" y="2220"/>
                  </a:lnTo>
                  <a:lnTo>
                    <a:pt x="915" y="2143"/>
                  </a:lnTo>
                  <a:lnTo>
                    <a:pt x="918" y="2051"/>
                  </a:lnTo>
                  <a:lnTo>
                    <a:pt x="927" y="1959"/>
                  </a:lnTo>
                  <a:lnTo>
                    <a:pt x="943" y="1869"/>
                  </a:lnTo>
                  <a:lnTo>
                    <a:pt x="964" y="1779"/>
                  </a:lnTo>
                  <a:lnTo>
                    <a:pt x="992" y="1690"/>
                  </a:lnTo>
                  <a:lnTo>
                    <a:pt x="1018" y="1621"/>
                  </a:lnTo>
                  <a:lnTo>
                    <a:pt x="1047" y="1555"/>
                  </a:lnTo>
                  <a:lnTo>
                    <a:pt x="1081" y="1490"/>
                  </a:lnTo>
                  <a:lnTo>
                    <a:pt x="1118" y="1426"/>
                  </a:lnTo>
                  <a:lnTo>
                    <a:pt x="1158" y="1366"/>
                  </a:lnTo>
                  <a:lnTo>
                    <a:pt x="1202" y="1309"/>
                  </a:lnTo>
                  <a:lnTo>
                    <a:pt x="1228" y="1279"/>
                  </a:lnTo>
                  <a:lnTo>
                    <a:pt x="1254" y="1251"/>
                  </a:lnTo>
                  <a:lnTo>
                    <a:pt x="1310" y="1194"/>
                  </a:lnTo>
                  <a:lnTo>
                    <a:pt x="1369" y="1140"/>
                  </a:lnTo>
                  <a:lnTo>
                    <a:pt x="1433" y="1093"/>
                  </a:lnTo>
                  <a:lnTo>
                    <a:pt x="1499" y="1048"/>
                  </a:lnTo>
                  <a:lnTo>
                    <a:pt x="1567" y="1010"/>
                  </a:lnTo>
                  <a:lnTo>
                    <a:pt x="1640" y="977"/>
                  </a:lnTo>
                  <a:lnTo>
                    <a:pt x="1714" y="951"/>
                  </a:lnTo>
                  <a:lnTo>
                    <a:pt x="1790" y="932"/>
                  </a:lnTo>
                  <a:lnTo>
                    <a:pt x="1869" y="919"/>
                  </a:lnTo>
                  <a:lnTo>
                    <a:pt x="1948" y="915"/>
                  </a:lnTo>
                  <a:lnTo>
                    <a:pt x="1990" y="915"/>
                  </a:lnTo>
                  <a:lnTo>
                    <a:pt x="2033" y="916"/>
                  </a:lnTo>
                  <a:lnTo>
                    <a:pt x="2077" y="921"/>
                  </a:lnTo>
                  <a:lnTo>
                    <a:pt x="2120" y="927"/>
                  </a:lnTo>
                  <a:lnTo>
                    <a:pt x="2162" y="935"/>
                  </a:lnTo>
                  <a:lnTo>
                    <a:pt x="2205" y="946"/>
                  </a:lnTo>
                  <a:lnTo>
                    <a:pt x="2247" y="961"/>
                  </a:lnTo>
                  <a:lnTo>
                    <a:pt x="2286" y="977"/>
                  </a:lnTo>
                  <a:lnTo>
                    <a:pt x="2324" y="998"/>
                  </a:lnTo>
                  <a:lnTo>
                    <a:pt x="2358" y="1020"/>
                  </a:lnTo>
                  <a:lnTo>
                    <a:pt x="2391" y="1047"/>
                  </a:lnTo>
                  <a:lnTo>
                    <a:pt x="2421" y="1077"/>
                  </a:lnTo>
                  <a:lnTo>
                    <a:pt x="2445" y="1111"/>
                  </a:lnTo>
                  <a:lnTo>
                    <a:pt x="2466" y="1148"/>
                  </a:lnTo>
                  <a:lnTo>
                    <a:pt x="2483" y="1189"/>
                  </a:lnTo>
                  <a:lnTo>
                    <a:pt x="2484" y="1187"/>
                  </a:lnTo>
                  <a:lnTo>
                    <a:pt x="2486" y="1180"/>
                  </a:lnTo>
                  <a:lnTo>
                    <a:pt x="2489" y="1169"/>
                  </a:lnTo>
                  <a:lnTo>
                    <a:pt x="2493" y="1155"/>
                  </a:lnTo>
                  <a:lnTo>
                    <a:pt x="2498" y="1138"/>
                  </a:lnTo>
                  <a:lnTo>
                    <a:pt x="2503" y="1120"/>
                  </a:lnTo>
                  <a:lnTo>
                    <a:pt x="2515" y="1085"/>
                  </a:lnTo>
                  <a:lnTo>
                    <a:pt x="2533" y="1054"/>
                  </a:lnTo>
                  <a:lnTo>
                    <a:pt x="2558" y="1029"/>
                  </a:lnTo>
                  <a:lnTo>
                    <a:pt x="2586" y="1008"/>
                  </a:lnTo>
                  <a:lnTo>
                    <a:pt x="2618" y="992"/>
                  </a:lnTo>
                  <a:lnTo>
                    <a:pt x="2652" y="981"/>
                  </a:lnTo>
                  <a:lnTo>
                    <a:pt x="2688" y="978"/>
                  </a:lnTo>
                  <a:lnTo>
                    <a:pt x="2829" y="978"/>
                  </a:lnTo>
                  <a:lnTo>
                    <a:pt x="2865" y="981"/>
                  </a:lnTo>
                  <a:lnTo>
                    <a:pt x="2898" y="991"/>
                  </a:lnTo>
                  <a:lnTo>
                    <a:pt x="2930" y="1007"/>
                  </a:lnTo>
                  <a:lnTo>
                    <a:pt x="2957" y="1026"/>
                  </a:lnTo>
                  <a:lnTo>
                    <a:pt x="2979" y="1051"/>
                  </a:lnTo>
                  <a:lnTo>
                    <a:pt x="2999" y="1079"/>
                  </a:lnTo>
                  <a:lnTo>
                    <a:pt x="3012" y="1110"/>
                  </a:lnTo>
                  <a:lnTo>
                    <a:pt x="3020" y="1143"/>
                  </a:lnTo>
                  <a:lnTo>
                    <a:pt x="3022" y="1177"/>
                  </a:lnTo>
                  <a:lnTo>
                    <a:pt x="3018" y="1212"/>
                  </a:lnTo>
                  <a:lnTo>
                    <a:pt x="2998" y="1306"/>
                  </a:lnTo>
                  <a:lnTo>
                    <a:pt x="2977" y="1401"/>
                  </a:lnTo>
                  <a:lnTo>
                    <a:pt x="2957" y="1495"/>
                  </a:lnTo>
                  <a:lnTo>
                    <a:pt x="2902" y="1750"/>
                  </a:lnTo>
                  <a:lnTo>
                    <a:pt x="2848" y="2008"/>
                  </a:lnTo>
                  <a:lnTo>
                    <a:pt x="2831" y="2087"/>
                  </a:lnTo>
                  <a:lnTo>
                    <a:pt x="2813" y="2165"/>
                  </a:lnTo>
                  <a:lnTo>
                    <a:pt x="2798" y="2245"/>
                  </a:lnTo>
                  <a:lnTo>
                    <a:pt x="2787" y="2326"/>
                  </a:lnTo>
                  <a:lnTo>
                    <a:pt x="2786" y="2347"/>
                  </a:lnTo>
                  <a:lnTo>
                    <a:pt x="2783" y="2369"/>
                  </a:lnTo>
                  <a:lnTo>
                    <a:pt x="2782" y="2393"/>
                  </a:lnTo>
                  <a:lnTo>
                    <a:pt x="2782" y="2418"/>
                  </a:lnTo>
                  <a:lnTo>
                    <a:pt x="2782" y="2443"/>
                  </a:lnTo>
                  <a:lnTo>
                    <a:pt x="2784" y="2467"/>
                  </a:lnTo>
                  <a:lnTo>
                    <a:pt x="2788" y="2490"/>
                  </a:lnTo>
                  <a:lnTo>
                    <a:pt x="2796" y="2512"/>
                  </a:lnTo>
                  <a:lnTo>
                    <a:pt x="2805" y="2532"/>
                  </a:lnTo>
                  <a:lnTo>
                    <a:pt x="2819" y="2548"/>
                  </a:lnTo>
                  <a:lnTo>
                    <a:pt x="2836" y="2563"/>
                  </a:lnTo>
                  <a:lnTo>
                    <a:pt x="2858" y="2573"/>
                  </a:lnTo>
                  <a:lnTo>
                    <a:pt x="2892" y="2580"/>
                  </a:lnTo>
                  <a:lnTo>
                    <a:pt x="2928" y="2582"/>
                  </a:lnTo>
                  <a:lnTo>
                    <a:pt x="2964" y="2580"/>
                  </a:lnTo>
                  <a:lnTo>
                    <a:pt x="3001" y="2573"/>
                  </a:lnTo>
                  <a:lnTo>
                    <a:pt x="3037" y="2560"/>
                  </a:lnTo>
                  <a:lnTo>
                    <a:pt x="3071" y="2546"/>
                  </a:lnTo>
                  <a:lnTo>
                    <a:pt x="3102" y="2527"/>
                  </a:lnTo>
                  <a:lnTo>
                    <a:pt x="3142" y="2495"/>
                  </a:lnTo>
                  <a:lnTo>
                    <a:pt x="3181" y="2458"/>
                  </a:lnTo>
                  <a:lnTo>
                    <a:pt x="3216" y="2416"/>
                  </a:lnTo>
                  <a:lnTo>
                    <a:pt x="3249" y="2368"/>
                  </a:lnTo>
                  <a:lnTo>
                    <a:pt x="3273" y="2322"/>
                  </a:lnTo>
                  <a:lnTo>
                    <a:pt x="3296" y="2274"/>
                  </a:lnTo>
                  <a:lnTo>
                    <a:pt x="3316" y="2222"/>
                  </a:lnTo>
                  <a:lnTo>
                    <a:pt x="3334" y="2165"/>
                  </a:lnTo>
                  <a:lnTo>
                    <a:pt x="3350" y="2107"/>
                  </a:lnTo>
                  <a:lnTo>
                    <a:pt x="3367" y="2026"/>
                  </a:lnTo>
                  <a:lnTo>
                    <a:pt x="3380" y="1944"/>
                  </a:lnTo>
                  <a:lnTo>
                    <a:pt x="3387" y="1858"/>
                  </a:lnTo>
                  <a:lnTo>
                    <a:pt x="3389" y="1770"/>
                  </a:lnTo>
                  <a:lnTo>
                    <a:pt x="3387" y="1684"/>
                  </a:lnTo>
                  <a:lnTo>
                    <a:pt x="3381" y="1601"/>
                  </a:lnTo>
                  <a:lnTo>
                    <a:pt x="3371" y="1521"/>
                  </a:lnTo>
                  <a:lnTo>
                    <a:pt x="3358" y="1444"/>
                  </a:lnTo>
                  <a:lnTo>
                    <a:pt x="3339" y="1370"/>
                  </a:lnTo>
                  <a:lnTo>
                    <a:pt x="3316" y="1299"/>
                  </a:lnTo>
                  <a:lnTo>
                    <a:pt x="3290" y="1231"/>
                  </a:lnTo>
                  <a:lnTo>
                    <a:pt x="3253" y="1156"/>
                  </a:lnTo>
                  <a:lnTo>
                    <a:pt x="3214" y="1086"/>
                  </a:lnTo>
                  <a:lnTo>
                    <a:pt x="3170" y="1019"/>
                  </a:lnTo>
                  <a:lnTo>
                    <a:pt x="3121" y="956"/>
                  </a:lnTo>
                  <a:lnTo>
                    <a:pt x="3069" y="899"/>
                  </a:lnTo>
                  <a:lnTo>
                    <a:pt x="3011" y="843"/>
                  </a:lnTo>
                  <a:lnTo>
                    <a:pt x="2950" y="793"/>
                  </a:lnTo>
                  <a:lnTo>
                    <a:pt x="2886" y="746"/>
                  </a:lnTo>
                  <a:lnTo>
                    <a:pt x="2818" y="705"/>
                  </a:lnTo>
                  <a:lnTo>
                    <a:pt x="2745" y="667"/>
                  </a:lnTo>
                  <a:lnTo>
                    <a:pt x="2668" y="634"/>
                  </a:lnTo>
                  <a:lnTo>
                    <a:pt x="2589" y="607"/>
                  </a:lnTo>
                  <a:lnTo>
                    <a:pt x="2504" y="582"/>
                  </a:lnTo>
                  <a:lnTo>
                    <a:pt x="2416" y="562"/>
                  </a:lnTo>
                  <a:lnTo>
                    <a:pt x="2325" y="546"/>
                  </a:lnTo>
                  <a:lnTo>
                    <a:pt x="2231" y="535"/>
                  </a:lnTo>
                  <a:lnTo>
                    <a:pt x="2134" y="528"/>
                  </a:lnTo>
                  <a:lnTo>
                    <a:pt x="2035" y="526"/>
                  </a:lnTo>
                  <a:lnTo>
                    <a:pt x="1929" y="529"/>
                  </a:lnTo>
                  <a:lnTo>
                    <a:pt x="1824" y="539"/>
                  </a:lnTo>
                  <a:lnTo>
                    <a:pt x="1724" y="554"/>
                  </a:lnTo>
                  <a:lnTo>
                    <a:pt x="1626" y="576"/>
                  </a:lnTo>
                  <a:lnTo>
                    <a:pt x="1533" y="604"/>
                  </a:lnTo>
                  <a:lnTo>
                    <a:pt x="1442" y="638"/>
                  </a:lnTo>
                  <a:lnTo>
                    <a:pt x="1357" y="678"/>
                  </a:lnTo>
                  <a:lnTo>
                    <a:pt x="1275" y="722"/>
                  </a:lnTo>
                  <a:lnTo>
                    <a:pt x="1196" y="772"/>
                  </a:lnTo>
                  <a:lnTo>
                    <a:pt x="1123" y="826"/>
                  </a:lnTo>
                  <a:lnTo>
                    <a:pt x="1053" y="885"/>
                  </a:lnTo>
                  <a:lnTo>
                    <a:pt x="988" y="949"/>
                  </a:lnTo>
                  <a:lnTo>
                    <a:pt x="936" y="1007"/>
                  </a:lnTo>
                  <a:lnTo>
                    <a:pt x="887" y="1067"/>
                  </a:lnTo>
                  <a:lnTo>
                    <a:pt x="841" y="1131"/>
                  </a:lnTo>
                  <a:lnTo>
                    <a:pt x="800" y="1198"/>
                  </a:lnTo>
                  <a:lnTo>
                    <a:pt x="760" y="1268"/>
                  </a:lnTo>
                  <a:lnTo>
                    <a:pt x="726" y="1342"/>
                  </a:lnTo>
                  <a:lnTo>
                    <a:pt x="694" y="1418"/>
                  </a:lnTo>
                  <a:lnTo>
                    <a:pt x="662" y="1509"/>
                  </a:lnTo>
                  <a:lnTo>
                    <a:pt x="636" y="1604"/>
                  </a:lnTo>
                  <a:lnTo>
                    <a:pt x="615" y="1702"/>
                  </a:lnTo>
                  <a:lnTo>
                    <a:pt x="600" y="1803"/>
                  </a:lnTo>
                  <a:lnTo>
                    <a:pt x="591" y="1906"/>
                  </a:lnTo>
                  <a:lnTo>
                    <a:pt x="589" y="2011"/>
                  </a:lnTo>
                  <a:lnTo>
                    <a:pt x="590" y="2106"/>
                  </a:lnTo>
                  <a:lnTo>
                    <a:pt x="598" y="2198"/>
                  </a:lnTo>
                  <a:lnTo>
                    <a:pt x="609" y="2289"/>
                  </a:lnTo>
                  <a:lnTo>
                    <a:pt x="623" y="2376"/>
                  </a:lnTo>
                  <a:lnTo>
                    <a:pt x="644" y="2461"/>
                  </a:lnTo>
                  <a:lnTo>
                    <a:pt x="669" y="2542"/>
                  </a:lnTo>
                  <a:lnTo>
                    <a:pt x="698" y="2620"/>
                  </a:lnTo>
                  <a:lnTo>
                    <a:pt x="735" y="2706"/>
                  </a:lnTo>
                  <a:lnTo>
                    <a:pt x="779" y="2790"/>
                  </a:lnTo>
                  <a:lnTo>
                    <a:pt x="827" y="2867"/>
                  </a:lnTo>
                  <a:lnTo>
                    <a:pt x="879" y="2942"/>
                  </a:lnTo>
                  <a:lnTo>
                    <a:pt x="937" y="3011"/>
                  </a:lnTo>
                  <a:lnTo>
                    <a:pt x="998" y="3076"/>
                  </a:lnTo>
                  <a:lnTo>
                    <a:pt x="1064" y="3136"/>
                  </a:lnTo>
                  <a:lnTo>
                    <a:pt x="1135" y="3191"/>
                  </a:lnTo>
                  <a:lnTo>
                    <a:pt x="1211" y="3241"/>
                  </a:lnTo>
                  <a:lnTo>
                    <a:pt x="1291" y="3288"/>
                  </a:lnTo>
                  <a:lnTo>
                    <a:pt x="1375" y="3329"/>
                  </a:lnTo>
                  <a:lnTo>
                    <a:pt x="1462" y="3365"/>
                  </a:lnTo>
                  <a:lnTo>
                    <a:pt x="1554" y="3396"/>
                  </a:lnTo>
                  <a:lnTo>
                    <a:pt x="1649" y="3422"/>
                  </a:lnTo>
                  <a:lnTo>
                    <a:pt x="1750" y="3442"/>
                  </a:lnTo>
                  <a:lnTo>
                    <a:pt x="1853" y="3456"/>
                  </a:lnTo>
                  <a:lnTo>
                    <a:pt x="1960" y="3465"/>
                  </a:lnTo>
                  <a:lnTo>
                    <a:pt x="2071" y="3467"/>
                  </a:lnTo>
                  <a:lnTo>
                    <a:pt x="2176" y="3465"/>
                  </a:lnTo>
                  <a:lnTo>
                    <a:pt x="2278" y="3459"/>
                  </a:lnTo>
                  <a:lnTo>
                    <a:pt x="2376" y="3449"/>
                  </a:lnTo>
                  <a:lnTo>
                    <a:pt x="2470" y="3434"/>
                  </a:lnTo>
                  <a:lnTo>
                    <a:pt x="2560" y="3416"/>
                  </a:lnTo>
                  <a:lnTo>
                    <a:pt x="2647" y="3392"/>
                  </a:lnTo>
                  <a:lnTo>
                    <a:pt x="2731" y="3367"/>
                  </a:lnTo>
                  <a:lnTo>
                    <a:pt x="2810" y="3336"/>
                  </a:lnTo>
                  <a:lnTo>
                    <a:pt x="2833" y="3329"/>
                  </a:lnTo>
                  <a:lnTo>
                    <a:pt x="2858" y="3327"/>
                  </a:lnTo>
                  <a:lnTo>
                    <a:pt x="2882" y="3332"/>
                  </a:lnTo>
                  <a:lnTo>
                    <a:pt x="2907" y="3341"/>
                  </a:lnTo>
                  <a:lnTo>
                    <a:pt x="2930" y="3354"/>
                  </a:lnTo>
                  <a:lnTo>
                    <a:pt x="2952" y="3372"/>
                  </a:lnTo>
                  <a:lnTo>
                    <a:pt x="2974" y="3392"/>
                  </a:lnTo>
                  <a:lnTo>
                    <a:pt x="2994" y="3416"/>
                  </a:lnTo>
                  <a:lnTo>
                    <a:pt x="3012" y="3442"/>
                  </a:lnTo>
                  <a:lnTo>
                    <a:pt x="3028" y="3471"/>
                  </a:lnTo>
                  <a:lnTo>
                    <a:pt x="3043" y="3500"/>
                  </a:lnTo>
                  <a:lnTo>
                    <a:pt x="3055" y="3531"/>
                  </a:lnTo>
                  <a:lnTo>
                    <a:pt x="3065" y="3564"/>
                  </a:lnTo>
                  <a:lnTo>
                    <a:pt x="3071" y="3596"/>
                  </a:lnTo>
                  <a:lnTo>
                    <a:pt x="3075" y="3628"/>
                  </a:lnTo>
                  <a:lnTo>
                    <a:pt x="3075" y="3660"/>
                  </a:lnTo>
                  <a:lnTo>
                    <a:pt x="3071" y="3689"/>
                  </a:lnTo>
                  <a:lnTo>
                    <a:pt x="3064" y="3719"/>
                  </a:lnTo>
                  <a:lnTo>
                    <a:pt x="3053" y="3746"/>
                  </a:lnTo>
                  <a:lnTo>
                    <a:pt x="3037" y="3769"/>
                  </a:lnTo>
                  <a:lnTo>
                    <a:pt x="3016" y="3791"/>
                  </a:lnTo>
                  <a:lnTo>
                    <a:pt x="2990" y="3810"/>
                  </a:lnTo>
                  <a:lnTo>
                    <a:pt x="2960" y="3823"/>
                  </a:lnTo>
                  <a:lnTo>
                    <a:pt x="2854" y="3860"/>
                  </a:lnTo>
                  <a:lnTo>
                    <a:pt x="2745" y="3893"/>
                  </a:lnTo>
                  <a:lnTo>
                    <a:pt x="2634" y="3920"/>
                  </a:lnTo>
                  <a:lnTo>
                    <a:pt x="2519" y="3942"/>
                  </a:lnTo>
                  <a:lnTo>
                    <a:pt x="2402" y="3959"/>
                  </a:lnTo>
                  <a:lnTo>
                    <a:pt x="2282" y="3970"/>
                  </a:lnTo>
                  <a:lnTo>
                    <a:pt x="2160" y="3978"/>
                  </a:lnTo>
                  <a:lnTo>
                    <a:pt x="2035" y="3980"/>
                  </a:lnTo>
                  <a:lnTo>
                    <a:pt x="1908" y="3978"/>
                  </a:lnTo>
                  <a:lnTo>
                    <a:pt x="1783" y="3968"/>
                  </a:lnTo>
                  <a:lnTo>
                    <a:pt x="1662" y="3953"/>
                  </a:lnTo>
                  <a:lnTo>
                    <a:pt x="1543" y="3931"/>
                  </a:lnTo>
                  <a:lnTo>
                    <a:pt x="1427" y="3904"/>
                  </a:lnTo>
                  <a:lnTo>
                    <a:pt x="1315" y="3871"/>
                  </a:lnTo>
                  <a:lnTo>
                    <a:pt x="1206" y="3833"/>
                  </a:lnTo>
                  <a:lnTo>
                    <a:pt x="1102" y="3789"/>
                  </a:lnTo>
                  <a:lnTo>
                    <a:pt x="1000" y="3740"/>
                  </a:lnTo>
                  <a:lnTo>
                    <a:pt x="905" y="3686"/>
                  </a:lnTo>
                  <a:lnTo>
                    <a:pt x="813" y="3627"/>
                  </a:lnTo>
                  <a:lnTo>
                    <a:pt x="725" y="3563"/>
                  </a:lnTo>
                  <a:lnTo>
                    <a:pt x="642" y="3494"/>
                  </a:lnTo>
                  <a:lnTo>
                    <a:pt x="563" y="3422"/>
                  </a:lnTo>
                  <a:lnTo>
                    <a:pt x="489" y="3345"/>
                  </a:lnTo>
                  <a:lnTo>
                    <a:pt x="419" y="3262"/>
                  </a:lnTo>
                  <a:lnTo>
                    <a:pt x="354" y="3176"/>
                  </a:lnTo>
                  <a:lnTo>
                    <a:pt x="294" y="3086"/>
                  </a:lnTo>
                  <a:lnTo>
                    <a:pt x="240" y="2991"/>
                  </a:lnTo>
                  <a:lnTo>
                    <a:pt x="191" y="2893"/>
                  </a:lnTo>
                  <a:lnTo>
                    <a:pt x="147" y="2791"/>
                  </a:lnTo>
                  <a:lnTo>
                    <a:pt x="111" y="2699"/>
                  </a:lnTo>
                  <a:lnTo>
                    <a:pt x="82" y="2605"/>
                  </a:lnTo>
                  <a:lnTo>
                    <a:pt x="56" y="2509"/>
                  </a:lnTo>
                  <a:lnTo>
                    <a:pt x="36" y="2409"/>
                  </a:lnTo>
                  <a:lnTo>
                    <a:pt x="20" y="2309"/>
                  </a:lnTo>
                  <a:lnTo>
                    <a:pt x="9" y="2206"/>
                  </a:lnTo>
                  <a:lnTo>
                    <a:pt x="2" y="2101"/>
                  </a:lnTo>
                  <a:lnTo>
                    <a:pt x="0" y="1995"/>
                  </a:lnTo>
                  <a:lnTo>
                    <a:pt x="2" y="1890"/>
                  </a:lnTo>
                  <a:lnTo>
                    <a:pt x="10" y="1786"/>
                  </a:lnTo>
                  <a:lnTo>
                    <a:pt x="22" y="1684"/>
                  </a:lnTo>
                  <a:lnTo>
                    <a:pt x="40" y="1583"/>
                  </a:lnTo>
                  <a:lnTo>
                    <a:pt x="62" y="1484"/>
                  </a:lnTo>
                  <a:lnTo>
                    <a:pt x="91" y="1388"/>
                  </a:lnTo>
                  <a:lnTo>
                    <a:pt x="122" y="1294"/>
                  </a:lnTo>
                  <a:lnTo>
                    <a:pt x="159" y="1203"/>
                  </a:lnTo>
                  <a:lnTo>
                    <a:pt x="207" y="1101"/>
                  </a:lnTo>
                  <a:lnTo>
                    <a:pt x="261" y="1003"/>
                  </a:lnTo>
                  <a:lnTo>
                    <a:pt x="318" y="908"/>
                  </a:lnTo>
                  <a:lnTo>
                    <a:pt x="381" y="818"/>
                  </a:lnTo>
                  <a:lnTo>
                    <a:pt x="448" y="730"/>
                  </a:lnTo>
                  <a:lnTo>
                    <a:pt x="520" y="648"/>
                  </a:lnTo>
                  <a:lnTo>
                    <a:pt x="598" y="571"/>
                  </a:lnTo>
                  <a:lnTo>
                    <a:pt x="678" y="497"/>
                  </a:lnTo>
                  <a:lnTo>
                    <a:pt x="763" y="429"/>
                  </a:lnTo>
                  <a:lnTo>
                    <a:pt x="851" y="364"/>
                  </a:lnTo>
                  <a:lnTo>
                    <a:pt x="944" y="303"/>
                  </a:lnTo>
                  <a:lnTo>
                    <a:pt x="1041" y="248"/>
                  </a:lnTo>
                  <a:lnTo>
                    <a:pt x="1141" y="197"/>
                  </a:lnTo>
                  <a:lnTo>
                    <a:pt x="1244" y="150"/>
                  </a:lnTo>
                  <a:lnTo>
                    <a:pt x="1352" y="111"/>
                  </a:lnTo>
                  <a:lnTo>
                    <a:pt x="1461" y="78"/>
                  </a:lnTo>
                  <a:lnTo>
                    <a:pt x="1572" y="49"/>
                  </a:lnTo>
                  <a:lnTo>
                    <a:pt x="1685" y="27"/>
                  </a:lnTo>
                  <a:lnTo>
                    <a:pt x="1800" y="13"/>
                  </a:lnTo>
                  <a:lnTo>
                    <a:pt x="1916" y="3"/>
                  </a:lnTo>
                  <a:lnTo>
                    <a:pt x="203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13393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 smtClean="0">
                <a:solidFill>
                  <a:srgbClr val="000000"/>
                </a:solidFill>
                <a:latin typeface="Calibri" pitchFamily="34" charset="0"/>
              </a:rPr>
              <a:t>Identyfikacja listy usług </a:t>
            </a: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publicznych do cyfryzacji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i ich </a:t>
            </a:r>
            <a:b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</a:b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podział na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fazy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wdrożenia</a:t>
            </a: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 smtClean="0">
                <a:solidFill>
                  <a:srgbClr val="000000"/>
                </a:solidFill>
                <a:latin typeface="Calibri" pitchFamily="34" charset="0"/>
              </a:rPr>
              <a:t>Weryfikacja ścieżki użytkownika w usługach planowanych do wdrożenia</a:t>
            </a: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E-Doręczenia</a:t>
            </a: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Nowy temat: Cyfrowa tożsamość przedsiębiorstw</a:t>
            </a: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83823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5.49895232224041219382E+00&quot;&gt;&lt;m_msothmcolidx val=&quot;0&quot;/&gt;&lt;m_rgb r=&quot;11&quot; g=&quot;70&quot; b=&quot;AB&quot;/&gt;&lt;m_nBrightness val=&quot;0&quot;/&gt;&lt;/elem&gt;&lt;elem m_fUsage=&quot;3.95444490885182764472E+00&quot;&gt;&lt;m_msothmcolidx val=&quot;0&quot;/&gt;&lt;m_rgb r=&quot;58&quot; g=&quot;90&quot; b=&quot;C8&quot;/&gt;&lt;m_nBrightness val=&quot;0&quot;/&gt;&lt;/elem&gt;&lt;elem m_fUsage=&quot;5.39880127648652674566E-01&quot;&gt;&lt;m_msothmcolidx val=&quot;0&quot;/&gt;&lt;m_rgb r=&quot;0D&quot; g=&quot;38&quot; b=&quot;81&quot;/&gt;&lt;m_nBrightness val=&quot;0&quot;/&gt;&lt;/elem&gt;&lt;elem m_fUsage=&quot;5.78218017212386858894E-03&quot;&gt;&lt;m_msothmcolidx val=&quot;0&quot;/&gt;&lt;m_rgb r=&quot;7D&quot; g=&quot;A9&quot; b=&quot;D5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e378f461-5c73-46ec-9281-d7e45e6a289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1hw0d1Tgqt6bc4j8UFt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P4DqePSre3lEJX3h1f3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5LJGPFQ2a1wM1b_8YRJ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6b8_U0TcKwK8rMsGoEw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inTs._Rr617K_aZoVtP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.MvmsmR.OnAkUmOAYh3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.ZQ1SWTD.UfiFIQGDQ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mUCqkTQWkLr1w0aCUQ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P4DqePSre3lEJX3h1f3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inTs._Rr617K_aZoVtP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7inFLgTCSOANRbWExDC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F7LEUrT7SdhCYfNB0tI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F7LEUrT7SdhCYfNB0tI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mUCqkTQWkLr1w0aCUQ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mUCqkTQWkLr1w0aCUQ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mUCqkTQWkLr1w0aCUQ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mUCqkTQWkLr1w0aCU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rpQxd_ShCnaJICY3iF.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BUOv4vQ1eCmCHRhjKzm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BUOv4vQ1eCmCHRhjKzm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BUOv4vQ1eCmCHRhjKzm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BUOv4vQ1eCmCHRhjKzm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BUOv4vQ1eCmCHRhjKzm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inTs._Rr617K_aZoVtP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X0I2cqR9uQXK6cSTHiK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BUOv4vQ1eCmCHRhjKzm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X0I2cqR9uQXK6cSTHiK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Gz_WLaQwCRR30i1N_N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BUOv4vQ1eCmCHRhjKzm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Gz_WLaQwCRR30i1N_Nj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.ZQ1SWTD.UfiFIQGDQY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6b8_U0TcKwK8rMsGoEw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.MvmsmR.OnAkUmOAYh3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ZmbpwAQCq3Rp6mhv3p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VVtofPSrSnCzLpaPeey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Gz_WLaQwCRR30i1N_Nj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6b8_U0TcKwK8rMsGoEw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swGeSISZi0kbo0ZJA7Z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.ZQ1SWTD.UfiFIQGDQY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mUCqkTQWkLr1w0aCUQ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6b8_U0TcKwK8rMsGoE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.ZQ1SWTD.UfiFIQGDQ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VVtofPSrSnCzLpaPee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.ZQ1SWTD.UfiFIQGDQ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swGeSISZi0kbo0ZJA7Z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mUCqkTQWkLr1w0aCU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P4DqePSre3lEJX3h1f3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5LJGPFQ2a1wM1b_8YR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VVtofPSrSnCzLpaPee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ybYoAoT66fFrPC2gID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nTmAqXTSy7kt_yf8K7i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A.Ia16QsKLjjEgmdbsE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WrhOsrQv6nShgOHzEuC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_re8T6SOC8RX8v02bIP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TtkFgDS4ywxmkzNR68t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OnMxwcRom21pcizEPYe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v2R8C0TJqREBGKqVw6E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l3nYmcTquUnQYjFg4PL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.MvmsmR.OnAkUmOAYh3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.ZQ1SWTD.UfiFIQGDQY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mUCqkTQWkLr1w0aCUQ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F313BEFA-1DFA-469B-961B-E2B163F408C7}" vid="{DB469181-935E-4995-8118-60CE9482E4F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5882</TotalTime>
  <Words>2334</Words>
  <Application>Microsoft Office PowerPoint</Application>
  <PresentationFormat>Papier A4 (210x297 mm)</PresentationFormat>
  <Paragraphs>603</Paragraphs>
  <Slides>28</Slides>
  <Notes>22</Notes>
  <HiddenSlides>13</HiddenSlides>
  <MMClips>0</MMClips>
  <ScaleCrop>false</ScaleCrop>
  <HeadingPairs>
    <vt:vector size="8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8</vt:i4>
      </vt:variant>
    </vt:vector>
  </HeadingPairs>
  <TitlesOfParts>
    <vt:vector size="35" baseType="lpstr">
      <vt:lpstr>Arial</vt:lpstr>
      <vt:lpstr>Calibri</vt:lpstr>
      <vt:lpstr>Helvetica Light</vt:lpstr>
      <vt:lpstr>Times New Roman</vt:lpstr>
      <vt:lpstr>Wingdings</vt:lpstr>
      <vt:lpstr>Blank</vt:lpstr>
      <vt:lpstr>think-cell Slide</vt:lpstr>
      <vt:lpstr>Prezentacja programu PowerPoint</vt:lpstr>
      <vt:lpstr>Wdrażanie Programu "od Papierowej do Cyfrowej Polski" przynosi wymierne korzyści dla obywateli i przedsiębiorców</vt:lpstr>
      <vt:lpstr>Posiedzenia Komitetu Sterującego Programu  „Od papierowej do cyfrowej Polski” – podsumowanie 2018 roku </vt:lpstr>
      <vt:lpstr>Pierwsze posiedzenie w 2018 roku - 18 czerwca  Ustalenie składu Komitetu Sterującego i koordynatorów</vt:lpstr>
      <vt:lpstr>Decyzje podjęte na posiedzeniu w dniu 18 czerwca 2018 roku  </vt:lpstr>
      <vt:lpstr>Drugie posiedzenie w 2018 roku - 30 lipca  Przegląd statusu działań strumieni  Zatwierdzenie planu działań nowych strumieni </vt:lpstr>
      <vt:lpstr>Struktura operacyjna Programu "Od papierowej do cyfrowej Polski"</vt:lpstr>
      <vt:lpstr>Prezentacja programu PowerPoint</vt:lpstr>
      <vt:lpstr>Strumień Cyfrowe Usługi Publiczne wspiera prace nad cyfryzacją usług publicznych</vt:lpstr>
      <vt:lpstr>Cele strumienia Cyfrowe Usługi Publiczne są aktualnie  realizowane w ramach trzech głównych projektów</vt:lpstr>
      <vt:lpstr>Strumień e-Sprawozdawczość pracuje nad usunięciem redundancji danych sprawozdawczych przedsiębiorców</vt:lpstr>
      <vt:lpstr>Cele strumienia e-Sprawozdawczość są aktualnie realizowane w ramach dwóch głównych podstrumieniach</vt:lpstr>
      <vt:lpstr>Strumień Rejestry Rozproszone pracuje nad rozpowszechnieniem technologii blockchain w gospodarce</vt:lpstr>
      <vt:lpstr>Zakres prac strumienia Rejestry Rozproszone  realizowany jest w ramach 7 działań </vt:lpstr>
      <vt:lpstr>Strumień e-Transport i e-Przepływy Towarów zajmuje się centralizacją systemów zarządzania ruchem oraz udrożnieniem łańcucha dostaw</vt:lpstr>
      <vt:lpstr>Cele strumienia e-Transport/e-Przepływy Towarów  są aktualnie realizowane w ramach 21 projektów</vt:lpstr>
      <vt:lpstr>Cele strumienia e-Transport/e-Przepływy Towarów  są aktualnie realizowane w ramach 21 projektów</vt:lpstr>
      <vt:lpstr>Strumień Zwiększenie Obrotu Bezgotówkowego wdraża inicjatywy ograniczające obieg gotówki w gospodarce </vt:lpstr>
      <vt:lpstr>Cele strumienia Zwiększenie Obrotu Bezgotówkowego są aktualnie realizowane w ramach dwóch głównych projektów</vt:lpstr>
      <vt:lpstr>Strumień e-Faktura i e-Paragon realizuje inicjatywy cyfryzujące obieg dokumentów w zamówieniach publicznych i handlu</vt:lpstr>
      <vt:lpstr>Cele strumienia e-Faktura aktualnie są realizowane w ramach  pięciu projektów</vt:lpstr>
      <vt:lpstr>Strumień e-Paragon realizuje projekt według następującego planu działania</vt:lpstr>
      <vt:lpstr>Strumień e-Edukacja realizuje inicjatywy z zakresu cyfryzacji edukacji i rozwijania kompetencji cyfrowych</vt:lpstr>
      <vt:lpstr>Cele strumienia e-Edukacja są aktualnie realizowane w ramach 7 głównych projektów</vt:lpstr>
      <vt:lpstr>Strumień Sztuczna Inteligencja realizuje inicjatywy z zakresu budowy środowiska dla lepszego rozwoju i wykorzystania SI</vt:lpstr>
      <vt:lpstr>Cele strumienia Sztuczna Inteligencja są aktualnie realizowane w ramach prac nad raportami GR mającymi być podstawą strategii SI</vt:lpstr>
      <vt:lpstr>Strumień Internet Rzeczy realizuje inicjatywy z zakresu zniesienia barier prawny oraz wprowadzenia regulacji stymulujących rynek w zakresie IoT</vt:lpstr>
      <vt:lpstr>  Dziękuję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limek, Maciej</dc:creator>
  <cp:lastModifiedBy>Paziewski Jacek</cp:lastModifiedBy>
  <cp:revision>270</cp:revision>
  <cp:lastPrinted>2016-12-22T16:15:45Z</cp:lastPrinted>
  <dcterms:created xsi:type="dcterms:W3CDTF">2016-10-31T13:19:05Z</dcterms:created>
  <dcterms:modified xsi:type="dcterms:W3CDTF">2019-01-24T01:0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BCGmod</vt:lpwstr>
  </property>
  <property fmtid="{D5CDD505-2E9C-101B-9397-08002B2CF9AE}" pid="3" name="Template Name">
    <vt:lpwstr>A4</vt:lpwstr>
  </property>
</Properties>
</file>